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7" r:id="rId2"/>
    <p:sldId id="271" r:id="rId3"/>
    <p:sldId id="258" r:id="rId4"/>
    <p:sldId id="259" r:id="rId5"/>
    <p:sldId id="270" r:id="rId6"/>
    <p:sldId id="260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8" d="100"/>
          <a:sy n="68" d="100"/>
        </p:scale>
        <p:origin x="738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3594CE-22C5-47D7-9D2E-D6616429B508}" type="doc">
      <dgm:prSet loTypeId="urn:microsoft.com/office/officeart/2005/8/layout/hierarchy1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2DE04CF-3178-4719-8D66-B5D90A665970}">
      <dgm:prSet/>
      <dgm:spPr/>
      <dgm:t>
        <a:bodyPr/>
        <a:lstStyle/>
        <a:p>
          <a:r>
            <a:rPr lang="de-DE"/>
            <a:t>85% erledigt</a:t>
          </a:r>
          <a:endParaRPr lang="en-US"/>
        </a:p>
      </dgm:t>
    </dgm:pt>
    <dgm:pt modelId="{21D2F333-E4A7-43FD-BE85-8EE81D6A566C}" type="parTrans" cxnId="{2B23AF8B-7B9E-4E25-AA67-9B3788A6F17A}">
      <dgm:prSet/>
      <dgm:spPr/>
      <dgm:t>
        <a:bodyPr/>
        <a:lstStyle/>
        <a:p>
          <a:endParaRPr lang="en-US"/>
        </a:p>
      </dgm:t>
    </dgm:pt>
    <dgm:pt modelId="{10714205-5D83-4430-867D-60ACFCD43F0F}" type="sibTrans" cxnId="{2B23AF8B-7B9E-4E25-AA67-9B3788A6F17A}">
      <dgm:prSet/>
      <dgm:spPr/>
      <dgm:t>
        <a:bodyPr/>
        <a:lstStyle/>
        <a:p>
          <a:endParaRPr lang="en-US"/>
        </a:p>
      </dgm:t>
    </dgm:pt>
    <dgm:pt modelId="{9793F1B7-E0EF-4515-9C76-DB22B9FE0B8D}">
      <dgm:prSet/>
      <dgm:spPr/>
      <dgm:t>
        <a:bodyPr/>
        <a:lstStyle/>
        <a:p>
          <a:r>
            <a:rPr lang="de-DE" dirty="0"/>
            <a:t>Testphase</a:t>
          </a:r>
          <a:endParaRPr lang="en-US" dirty="0"/>
        </a:p>
      </dgm:t>
    </dgm:pt>
    <dgm:pt modelId="{C17DBEF7-2082-4B08-8C16-94A86E8215E7}" type="parTrans" cxnId="{B595F268-8282-4CF8-88C9-40C51EF772EA}">
      <dgm:prSet/>
      <dgm:spPr/>
      <dgm:t>
        <a:bodyPr/>
        <a:lstStyle/>
        <a:p>
          <a:endParaRPr lang="en-US"/>
        </a:p>
      </dgm:t>
    </dgm:pt>
    <dgm:pt modelId="{930C51AA-4030-4C99-9F25-1CB982D50623}" type="sibTrans" cxnId="{B595F268-8282-4CF8-88C9-40C51EF772EA}">
      <dgm:prSet/>
      <dgm:spPr/>
      <dgm:t>
        <a:bodyPr/>
        <a:lstStyle/>
        <a:p>
          <a:endParaRPr lang="en-US"/>
        </a:p>
      </dgm:t>
    </dgm:pt>
    <dgm:pt modelId="{2883D197-4363-46D3-A22A-EC010F659C3F}">
      <dgm:prSet/>
      <dgm:spPr/>
      <dgm:t>
        <a:bodyPr/>
        <a:lstStyle/>
        <a:p>
          <a:r>
            <a:rPr lang="de-DE"/>
            <a:t>Funktionen soweit vollständig</a:t>
          </a:r>
          <a:endParaRPr lang="en-US" dirty="0"/>
        </a:p>
      </dgm:t>
    </dgm:pt>
    <dgm:pt modelId="{E5A2ED59-C5E4-4575-8478-5C5D2259C77B}" type="parTrans" cxnId="{432093E7-2203-4548-A305-75E69B3BE0CB}">
      <dgm:prSet/>
      <dgm:spPr/>
      <dgm:t>
        <a:bodyPr/>
        <a:lstStyle/>
        <a:p>
          <a:endParaRPr lang="de-DE"/>
        </a:p>
      </dgm:t>
    </dgm:pt>
    <dgm:pt modelId="{3CD7E1D1-0D09-4AC3-8DC3-ADD9AC28160A}" type="sibTrans" cxnId="{432093E7-2203-4548-A305-75E69B3BE0CB}">
      <dgm:prSet/>
      <dgm:spPr/>
      <dgm:t>
        <a:bodyPr/>
        <a:lstStyle/>
        <a:p>
          <a:endParaRPr lang="de-DE"/>
        </a:p>
      </dgm:t>
    </dgm:pt>
    <dgm:pt modelId="{7B30B2E4-C667-4B2D-B905-043B0809A11D}" type="pres">
      <dgm:prSet presAssocID="{2D3594CE-22C5-47D7-9D2E-D6616429B508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657AE06-1E11-4B78-8049-BD2A02D36AC8}" type="pres">
      <dgm:prSet presAssocID="{A2DE04CF-3178-4719-8D66-B5D90A665970}" presName="hierRoot1" presStyleCnt="0"/>
      <dgm:spPr/>
    </dgm:pt>
    <dgm:pt modelId="{1B4E58AF-BB55-4FCB-A443-BAE5BEDD9997}" type="pres">
      <dgm:prSet presAssocID="{A2DE04CF-3178-4719-8D66-B5D90A665970}" presName="composite" presStyleCnt="0"/>
      <dgm:spPr/>
    </dgm:pt>
    <dgm:pt modelId="{15DDF03E-C849-49BD-A446-791B8B13BE80}" type="pres">
      <dgm:prSet presAssocID="{A2DE04CF-3178-4719-8D66-B5D90A665970}" presName="background" presStyleLbl="node0" presStyleIdx="0" presStyleCnt="3"/>
      <dgm:spPr/>
    </dgm:pt>
    <dgm:pt modelId="{EF21825E-A34E-4A01-8170-8380CD37068C}" type="pres">
      <dgm:prSet presAssocID="{A2DE04CF-3178-4719-8D66-B5D90A665970}" presName="text" presStyleLbl="fgAcc0" presStyleIdx="0" presStyleCnt="3">
        <dgm:presLayoutVars>
          <dgm:chPref val="3"/>
        </dgm:presLayoutVars>
      </dgm:prSet>
      <dgm:spPr/>
    </dgm:pt>
    <dgm:pt modelId="{CE3E3951-D9B5-4B5F-AC32-6DF6D39785CC}" type="pres">
      <dgm:prSet presAssocID="{A2DE04CF-3178-4719-8D66-B5D90A665970}" presName="hierChild2" presStyleCnt="0"/>
      <dgm:spPr/>
    </dgm:pt>
    <dgm:pt modelId="{DE73C322-A05C-44CD-9EF7-4D877E0BED2F}" type="pres">
      <dgm:prSet presAssocID="{2883D197-4363-46D3-A22A-EC010F659C3F}" presName="hierRoot1" presStyleCnt="0"/>
      <dgm:spPr/>
    </dgm:pt>
    <dgm:pt modelId="{5B006BF3-6D52-4317-9E63-5335FFCC8BBA}" type="pres">
      <dgm:prSet presAssocID="{2883D197-4363-46D3-A22A-EC010F659C3F}" presName="composite" presStyleCnt="0"/>
      <dgm:spPr/>
    </dgm:pt>
    <dgm:pt modelId="{5DFD6188-A9A6-4600-88A6-51E4E9FECBF1}" type="pres">
      <dgm:prSet presAssocID="{2883D197-4363-46D3-A22A-EC010F659C3F}" presName="background" presStyleLbl="node0" presStyleIdx="1" presStyleCnt="3"/>
      <dgm:spPr/>
    </dgm:pt>
    <dgm:pt modelId="{2AD9A3DE-7083-4B1E-836D-3D5D95C33644}" type="pres">
      <dgm:prSet presAssocID="{2883D197-4363-46D3-A22A-EC010F659C3F}" presName="text" presStyleLbl="fgAcc0" presStyleIdx="1" presStyleCnt="3">
        <dgm:presLayoutVars>
          <dgm:chPref val="3"/>
        </dgm:presLayoutVars>
      </dgm:prSet>
      <dgm:spPr/>
    </dgm:pt>
    <dgm:pt modelId="{EF303FE3-7732-46F0-B6BE-A359A17CD921}" type="pres">
      <dgm:prSet presAssocID="{2883D197-4363-46D3-A22A-EC010F659C3F}" presName="hierChild2" presStyleCnt="0"/>
      <dgm:spPr/>
    </dgm:pt>
    <dgm:pt modelId="{6DCD0DD7-040F-41B1-B7D3-B2CD9E1480C4}" type="pres">
      <dgm:prSet presAssocID="{9793F1B7-E0EF-4515-9C76-DB22B9FE0B8D}" presName="hierRoot1" presStyleCnt="0"/>
      <dgm:spPr/>
    </dgm:pt>
    <dgm:pt modelId="{71D77593-4129-4E0A-8EFD-4E300C9AA928}" type="pres">
      <dgm:prSet presAssocID="{9793F1B7-E0EF-4515-9C76-DB22B9FE0B8D}" presName="composite" presStyleCnt="0"/>
      <dgm:spPr/>
    </dgm:pt>
    <dgm:pt modelId="{1F924F10-3C54-4334-9A1E-22BC07F9D799}" type="pres">
      <dgm:prSet presAssocID="{9793F1B7-E0EF-4515-9C76-DB22B9FE0B8D}" presName="background" presStyleLbl="node0" presStyleIdx="2" presStyleCnt="3"/>
      <dgm:spPr/>
    </dgm:pt>
    <dgm:pt modelId="{49AF1FCF-FA65-4CD2-9A42-D93A3F5725F9}" type="pres">
      <dgm:prSet presAssocID="{9793F1B7-E0EF-4515-9C76-DB22B9FE0B8D}" presName="text" presStyleLbl="fgAcc0" presStyleIdx="2" presStyleCnt="3">
        <dgm:presLayoutVars>
          <dgm:chPref val="3"/>
        </dgm:presLayoutVars>
      </dgm:prSet>
      <dgm:spPr/>
    </dgm:pt>
    <dgm:pt modelId="{85BF7CC6-C775-443F-85A6-815C586EA1B9}" type="pres">
      <dgm:prSet presAssocID="{9793F1B7-E0EF-4515-9C76-DB22B9FE0B8D}" presName="hierChild2" presStyleCnt="0"/>
      <dgm:spPr/>
    </dgm:pt>
  </dgm:ptLst>
  <dgm:cxnLst>
    <dgm:cxn modelId="{9307B015-1851-46B9-BB7A-1CFC5613D39C}" type="presOf" srcId="{9793F1B7-E0EF-4515-9C76-DB22B9FE0B8D}" destId="{49AF1FCF-FA65-4CD2-9A42-D93A3F5725F9}" srcOrd="0" destOrd="0" presId="urn:microsoft.com/office/officeart/2005/8/layout/hierarchy1"/>
    <dgm:cxn modelId="{E3345B1B-4F41-4582-BE53-3D83F09994CC}" type="presOf" srcId="{2883D197-4363-46D3-A22A-EC010F659C3F}" destId="{2AD9A3DE-7083-4B1E-836D-3D5D95C33644}" srcOrd="0" destOrd="0" presId="urn:microsoft.com/office/officeart/2005/8/layout/hierarchy1"/>
    <dgm:cxn modelId="{9D6AA92E-484C-4B20-9AC5-F874D7A435C4}" type="presOf" srcId="{2D3594CE-22C5-47D7-9D2E-D6616429B508}" destId="{7B30B2E4-C667-4B2D-B905-043B0809A11D}" srcOrd="0" destOrd="0" presId="urn:microsoft.com/office/officeart/2005/8/layout/hierarchy1"/>
    <dgm:cxn modelId="{B595F268-8282-4CF8-88C9-40C51EF772EA}" srcId="{2D3594CE-22C5-47D7-9D2E-D6616429B508}" destId="{9793F1B7-E0EF-4515-9C76-DB22B9FE0B8D}" srcOrd="2" destOrd="0" parTransId="{C17DBEF7-2082-4B08-8C16-94A86E8215E7}" sibTransId="{930C51AA-4030-4C99-9F25-1CB982D50623}"/>
    <dgm:cxn modelId="{2B23AF8B-7B9E-4E25-AA67-9B3788A6F17A}" srcId="{2D3594CE-22C5-47D7-9D2E-D6616429B508}" destId="{A2DE04CF-3178-4719-8D66-B5D90A665970}" srcOrd="0" destOrd="0" parTransId="{21D2F333-E4A7-43FD-BE85-8EE81D6A566C}" sibTransId="{10714205-5D83-4430-867D-60ACFCD43F0F}"/>
    <dgm:cxn modelId="{1F1173DF-3475-4795-94B6-4278E57A5200}" type="presOf" srcId="{A2DE04CF-3178-4719-8D66-B5D90A665970}" destId="{EF21825E-A34E-4A01-8170-8380CD37068C}" srcOrd="0" destOrd="0" presId="urn:microsoft.com/office/officeart/2005/8/layout/hierarchy1"/>
    <dgm:cxn modelId="{432093E7-2203-4548-A305-75E69B3BE0CB}" srcId="{2D3594CE-22C5-47D7-9D2E-D6616429B508}" destId="{2883D197-4363-46D3-A22A-EC010F659C3F}" srcOrd="1" destOrd="0" parTransId="{E5A2ED59-C5E4-4575-8478-5C5D2259C77B}" sibTransId="{3CD7E1D1-0D09-4AC3-8DC3-ADD9AC28160A}"/>
    <dgm:cxn modelId="{513F9F6B-4B5E-4BEB-95E5-D858DAFA950A}" type="presParOf" srcId="{7B30B2E4-C667-4B2D-B905-043B0809A11D}" destId="{B657AE06-1E11-4B78-8049-BD2A02D36AC8}" srcOrd="0" destOrd="0" presId="urn:microsoft.com/office/officeart/2005/8/layout/hierarchy1"/>
    <dgm:cxn modelId="{AFD1C035-FDC3-4D1F-8A0D-926000AA90EE}" type="presParOf" srcId="{B657AE06-1E11-4B78-8049-BD2A02D36AC8}" destId="{1B4E58AF-BB55-4FCB-A443-BAE5BEDD9997}" srcOrd="0" destOrd="0" presId="urn:microsoft.com/office/officeart/2005/8/layout/hierarchy1"/>
    <dgm:cxn modelId="{40EB8721-B3A5-4401-8922-3E0314C21CAE}" type="presParOf" srcId="{1B4E58AF-BB55-4FCB-A443-BAE5BEDD9997}" destId="{15DDF03E-C849-49BD-A446-791B8B13BE80}" srcOrd="0" destOrd="0" presId="urn:microsoft.com/office/officeart/2005/8/layout/hierarchy1"/>
    <dgm:cxn modelId="{FC37C5D0-625E-4867-904F-6B684E8D372B}" type="presParOf" srcId="{1B4E58AF-BB55-4FCB-A443-BAE5BEDD9997}" destId="{EF21825E-A34E-4A01-8170-8380CD37068C}" srcOrd="1" destOrd="0" presId="urn:microsoft.com/office/officeart/2005/8/layout/hierarchy1"/>
    <dgm:cxn modelId="{7B4F8B72-5EE1-4064-8BB4-5D8C8E1E2012}" type="presParOf" srcId="{B657AE06-1E11-4B78-8049-BD2A02D36AC8}" destId="{CE3E3951-D9B5-4B5F-AC32-6DF6D39785CC}" srcOrd="1" destOrd="0" presId="urn:microsoft.com/office/officeart/2005/8/layout/hierarchy1"/>
    <dgm:cxn modelId="{1BAB4772-ECD0-43F2-93BF-BC04E666D0A8}" type="presParOf" srcId="{7B30B2E4-C667-4B2D-B905-043B0809A11D}" destId="{DE73C322-A05C-44CD-9EF7-4D877E0BED2F}" srcOrd="1" destOrd="0" presId="urn:microsoft.com/office/officeart/2005/8/layout/hierarchy1"/>
    <dgm:cxn modelId="{763EE237-3BB0-48EF-A806-F2054701BBAB}" type="presParOf" srcId="{DE73C322-A05C-44CD-9EF7-4D877E0BED2F}" destId="{5B006BF3-6D52-4317-9E63-5335FFCC8BBA}" srcOrd="0" destOrd="0" presId="urn:microsoft.com/office/officeart/2005/8/layout/hierarchy1"/>
    <dgm:cxn modelId="{A0F994BA-B645-45BB-AF63-796B80C1E626}" type="presParOf" srcId="{5B006BF3-6D52-4317-9E63-5335FFCC8BBA}" destId="{5DFD6188-A9A6-4600-88A6-51E4E9FECBF1}" srcOrd="0" destOrd="0" presId="urn:microsoft.com/office/officeart/2005/8/layout/hierarchy1"/>
    <dgm:cxn modelId="{5B0C647B-FF37-4568-A9FB-0CA9E0A7B43A}" type="presParOf" srcId="{5B006BF3-6D52-4317-9E63-5335FFCC8BBA}" destId="{2AD9A3DE-7083-4B1E-836D-3D5D95C33644}" srcOrd="1" destOrd="0" presId="urn:microsoft.com/office/officeart/2005/8/layout/hierarchy1"/>
    <dgm:cxn modelId="{47B27736-BA40-4BC9-AF71-256CD346526F}" type="presParOf" srcId="{DE73C322-A05C-44CD-9EF7-4D877E0BED2F}" destId="{EF303FE3-7732-46F0-B6BE-A359A17CD921}" srcOrd="1" destOrd="0" presId="urn:microsoft.com/office/officeart/2005/8/layout/hierarchy1"/>
    <dgm:cxn modelId="{AF2791C0-4BE4-47E2-9852-8FC4C5ED9D2A}" type="presParOf" srcId="{7B30B2E4-C667-4B2D-B905-043B0809A11D}" destId="{6DCD0DD7-040F-41B1-B7D3-B2CD9E1480C4}" srcOrd="2" destOrd="0" presId="urn:microsoft.com/office/officeart/2005/8/layout/hierarchy1"/>
    <dgm:cxn modelId="{A95BE38B-D464-4262-AADC-69D8804B23B6}" type="presParOf" srcId="{6DCD0DD7-040F-41B1-B7D3-B2CD9E1480C4}" destId="{71D77593-4129-4E0A-8EFD-4E300C9AA928}" srcOrd="0" destOrd="0" presId="urn:microsoft.com/office/officeart/2005/8/layout/hierarchy1"/>
    <dgm:cxn modelId="{B5414F61-512D-4DD9-9811-070493889A00}" type="presParOf" srcId="{71D77593-4129-4E0A-8EFD-4E300C9AA928}" destId="{1F924F10-3C54-4334-9A1E-22BC07F9D799}" srcOrd="0" destOrd="0" presId="urn:microsoft.com/office/officeart/2005/8/layout/hierarchy1"/>
    <dgm:cxn modelId="{FE190767-8A91-408F-B7F1-B4010BEE555E}" type="presParOf" srcId="{71D77593-4129-4E0A-8EFD-4E300C9AA928}" destId="{49AF1FCF-FA65-4CD2-9A42-D93A3F5725F9}" srcOrd="1" destOrd="0" presId="urn:microsoft.com/office/officeart/2005/8/layout/hierarchy1"/>
    <dgm:cxn modelId="{BDC017AD-A56C-41E0-AA60-20A201E1BB29}" type="presParOf" srcId="{6DCD0DD7-040F-41B1-B7D3-B2CD9E1480C4}" destId="{85BF7CC6-C775-443F-85A6-815C586EA1B9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17B48C-BB42-490E-9586-6A8DBF628B32}" type="doc">
      <dgm:prSet loTypeId="urn:microsoft.com/office/officeart/2005/8/layout/hList1" loCatId="list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4971BEA4-F97B-46D8-9EF6-EC60BE633E36}">
      <dgm:prSet/>
      <dgm:spPr/>
      <dgm:t>
        <a:bodyPr/>
        <a:lstStyle/>
        <a:p>
          <a:r>
            <a:rPr lang="de-DE"/>
            <a:t>Suchfunktion </a:t>
          </a:r>
          <a:endParaRPr lang="en-US"/>
        </a:p>
      </dgm:t>
    </dgm:pt>
    <dgm:pt modelId="{A0A608A7-8C54-478D-A7FD-1B413596610F}" type="parTrans" cxnId="{A1915EB8-42CF-4CB9-875B-8804ABF3C159}">
      <dgm:prSet/>
      <dgm:spPr/>
      <dgm:t>
        <a:bodyPr/>
        <a:lstStyle/>
        <a:p>
          <a:endParaRPr lang="en-US"/>
        </a:p>
      </dgm:t>
    </dgm:pt>
    <dgm:pt modelId="{90E53B0F-A834-4637-8A3A-9C0D6CF664D0}" type="sibTrans" cxnId="{A1915EB8-42CF-4CB9-875B-8804ABF3C159}">
      <dgm:prSet/>
      <dgm:spPr/>
      <dgm:t>
        <a:bodyPr/>
        <a:lstStyle/>
        <a:p>
          <a:endParaRPr lang="en-US"/>
        </a:p>
      </dgm:t>
    </dgm:pt>
    <dgm:pt modelId="{3E91B408-89D7-4FB8-B2D3-F4A821C0EE3C}">
      <dgm:prSet/>
      <dgm:spPr/>
      <dgm:t>
        <a:bodyPr/>
        <a:lstStyle/>
        <a:p>
          <a:r>
            <a:rPr lang="de-DE"/>
            <a:t>Dreamday </a:t>
          </a:r>
          <a:endParaRPr lang="en-US"/>
        </a:p>
      </dgm:t>
    </dgm:pt>
    <dgm:pt modelId="{0B3A3205-3485-4CFA-8E8C-3A6735355FC3}" type="parTrans" cxnId="{B5652A82-D241-498F-892A-2B9CE5287912}">
      <dgm:prSet/>
      <dgm:spPr/>
      <dgm:t>
        <a:bodyPr/>
        <a:lstStyle/>
        <a:p>
          <a:endParaRPr lang="en-US"/>
        </a:p>
      </dgm:t>
    </dgm:pt>
    <dgm:pt modelId="{F2EABE62-0317-4CAD-9FAC-C322AE95434B}" type="sibTrans" cxnId="{B5652A82-D241-498F-892A-2B9CE5287912}">
      <dgm:prSet/>
      <dgm:spPr/>
      <dgm:t>
        <a:bodyPr/>
        <a:lstStyle/>
        <a:p>
          <a:endParaRPr lang="en-US"/>
        </a:p>
      </dgm:t>
    </dgm:pt>
    <dgm:pt modelId="{63B67F89-9A62-4927-971B-00A91AF54FD5}">
      <dgm:prSet/>
      <dgm:spPr/>
      <dgm:t>
        <a:bodyPr/>
        <a:lstStyle/>
        <a:p>
          <a:r>
            <a:rPr lang="de-DE"/>
            <a:t>Austausch von Aktivität</a:t>
          </a:r>
          <a:endParaRPr lang="en-US"/>
        </a:p>
      </dgm:t>
    </dgm:pt>
    <dgm:pt modelId="{6740EBE1-59D0-4B70-BC69-35FFA0193947}" type="parTrans" cxnId="{C22063C9-8770-4C7A-A6C3-239DC59D3A45}">
      <dgm:prSet/>
      <dgm:spPr/>
      <dgm:t>
        <a:bodyPr/>
        <a:lstStyle/>
        <a:p>
          <a:endParaRPr lang="en-US"/>
        </a:p>
      </dgm:t>
    </dgm:pt>
    <dgm:pt modelId="{02290093-F86E-481E-BCE8-E293151546FB}" type="sibTrans" cxnId="{C22063C9-8770-4C7A-A6C3-239DC59D3A45}">
      <dgm:prSet/>
      <dgm:spPr/>
      <dgm:t>
        <a:bodyPr/>
        <a:lstStyle/>
        <a:p>
          <a:endParaRPr lang="en-US"/>
        </a:p>
      </dgm:t>
    </dgm:pt>
    <dgm:pt modelId="{6BE88B50-E4D4-4F94-910D-3D7A94DD40EE}">
      <dgm:prSet/>
      <dgm:spPr/>
      <dgm:t>
        <a:bodyPr/>
        <a:lstStyle/>
        <a:p>
          <a:r>
            <a:rPr lang="de-DE"/>
            <a:t>Einträge hinzufügen </a:t>
          </a:r>
          <a:endParaRPr lang="en-US"/>
        </a:p>
      </dgm:t>
    </dgm:pt>
    <dgm:pt modelId="{EC02C216-738E-4F7F-BB5A-9C7CD44DE825}" type="parTrans" cxnId="{71A8C89F-9821-4F9C-901E-2DF2DD56680D}">
      <dgm:prSet/>
      <dgm:spPr/>
      <dgm:t>
        <a:bodyPr/>
        <a:lstStyle/>
        <a:p>
          <a:endParaRPr lang="en-US"/>
        </a:p>
      </dgm:t>
    </dgm:pt>
    <dgm:pt modelId="{D209D9C6-7AD7-40F4-B3DF-6F511D7E7955}" type="sibTrans" cxnId="{71A8C89F-9821-4F9C-901E-2DF2DD56680D}">
      <dgm:prSet/>
      <dgm:spPr/>
      <dgm:t>
        <a:bodyPr/>
        <a:lstStyle/>
        <a:p>
          <a:endParaRPr lang="en-US"/>
        </a:p>
      </dgm:t>
    </dgm:pt>
    <dgm:pt modelId="{3BE10C99-6DC6-4E87-953D-C88376258E58}">
      <dgm:prSet/>
      <dgm:spPr/>
      <dgm:t>
        <a:bodyPr/>
        <a:lstStyle/>
        <a:p>
          <a:r>
            <a:rPr lang="de-DE" dirty="0"/>
            <a:t>Tagesplanung</a:t>
          </a:r>
          <a:endParaRPr lang="en-US" dirty="0"/>
        </a:p>
      </dgm:t>
    </dgm:pt>
    <dgm:pt modelId="{84B6FA8C-BBAB-4CE1-A80C-B57BE7FD97B6}" type="parTrans" cxnId="{99235586-EA0E-434A-A9A9-B2029AA7D77B}">
      <dgm:prSet/>
      <dgm:spPr/>
      <dgm:t>
        <a:bodyPr/>
        <a:lstStyle/>
        <a:p>
          <a:endParaRPr lang="en-US"/>
        </a:p>
      </dgm:t>
    </dgm:pt>
    <dgm:pt modelId="{00281E7C-A380-428A-88A3-C750096B1F35}" type="sibTrans" cxnId="{99235586-EA0E-434A-A9A9-B2029AA7D77B}">
      <dgm:prSet/>
      <dgm:spPr/>
      <dgm:t>
        <a:bodyPr/>
        <a:lstStyle/>
        <a:p>
          <a:endParaRPr lang="en-US"/>
        </a:p>
      </dgm:t>
    </dgm:pt>
    <dgm:pt modelId="{59DE8BA2-EE88-40E5-802C-377807393AF2}">
      <dgm:prSet/>
      <dgm:spPr/>
      <dgm:t>
        <a:bodyPr/>
        <a:lstStyle/>
        <a:p>
          <a:r>
            <a:rPr lang="de-DE" dirty="0"/>
            <a:t>Autocomplete</a:t>
          </a:r>
        </a:p>
      </dgm:t>
    </dgm:pt>
    <dgm:pt modelId="{04E778E4-43A2-4555-9357-100F7F297706}" type="parTrans" cxnId="{CA8F00A8-A354-4062-8905-02B5FC067975}">
      <dgm:prSet/>
      <dgm:spPr/>
      <dgm:t>
        <a:bodyPr/>
        <a:lstStyle/>
        <a:p>
          <a:endParaRPr lang="de-DE"/>
        </a:p>
      </dgm:t>
    </dgm:pt>
    <dgm:pt modelId="{EB5C50F7-5E4C-4C79-9521-0B70C96D8848}" type="sibTrans" cxnId="{CA8F00A8-A354-4062-8905-02B5FC067975}">
      <dgm:prSet/>
      <dgm:spPr/>
      <dgm:t>
        <a:bodyPr/>
        <a:lstStyle/>
        <a:p>
          <a:endParaRPr lang="de-DE"/>
        </a:p>
      </dgm:t>
    </dgm:pt>
    <dgm:pt modelId="{62F91E36-3D3A-4212-9E76-995EA8AEF494}">
      <dgm:prSet/>
      <dgm:spPr/>
      <dgm:t>
        <a:bodyPr/>
        <a:lstStyle/>
        <a:p>
          <a:r>
            <a:rPr lang="de-DE" dirty="0"/>
            <a:t>Bilder und Text im richtigen Format</a:t>
          </a:r>
        </a:p>
      </dgm:t>
    </dgm:pt>
    <dgm:pt modelId="{A167E218-A894-4D5C-9E5E-1F66A41E0675}" type="parTrans" cxnId="{15AFAF2D-4FD5-48E1-BFDC-B17537D35131}">
      <dgm:prSet/>
      <dgm:spPr/>
      <dgm:t>
        <a:bodyPr/>
        <a:lstStyle/>
        <a:p>
          <a:endParaRPr lang="de-DE"/>
        </a:p>
      </dgm:t>
    </dgm:pt>
    <dgm:pt modelId="{9D6E74B1-C781-4E37-A9FB-61C010108E86}" type="sibTrans" cxnId="{15AFAF2D-4FD5-48E1-BFDC-B17537D35131}">
      <dgm:prSet/>
      <dgm:spPr/>
      <dgm:t>
        <a:bodyPr/>
        <a:lstStyle/>
        <a:p>
          <a:endParaRPr lang="de-DE"/>
        </a:p>
      </dgm:t>
    </dgm:pt>
    <dgm:pt modelId="{81749D5E-4662-4079-817B-6F235F4EB56F}">
      <dgm:prSet/>
      <dgm:spPr/>
      <dgm:t>
        <a:bodyPr/>
        <a:lstStyle/>
        <a:p>
          <a:r>
            <a:rPr lang="de-DE" dirty="0"/>
            <a:t>Zentriert</a:t>
          </a:r>
        </a:p>
      </dgm:t>
    </dgm:pt>
    <dgm:pt modelId="{3FD927AE-8EB1-410A-B69A-D11267B036E1}" type="parTrans" cxnId="{3B891459-5169-4D3D-9D53-AC04A76C11F6}">
      <dgm:prSet/>
      <dgm:spPr/>
      <dgm:t>
        <a:bodyPr/>
        <a:lstStyle/>
        <a:p>
          <a:endParaRPr lang="de-DE"/>
        </a:p>
      </dgm:t>
    </dgm:pt>
    <dgm:pt modelId="{535C413F-4CD3-48F0-85C9-4C7EE2179CD6}" type="sibTrans" cxnId="{3B891459-5169-4D3D-9D53-AC04A76C11F6}">
      <dgm:prSet/>
      <dgm:spPr/>
      <dgm:t>
        <a:bodyPr/>
        <a:lstStyle/>
        <a:p>
          <a:endParaRPr lang="de-DE"/>
        </a:p>
      </dgm:t>
    </dgm:pt>
    <dgm:pt modelId="{3320A753-8855-4DC7-AE6B-859FA298BF4D}">
      <dgm:prSet/>
      <dgm:spPr/>
      <dgm:t>
        <a:bodyPr/>
        <a:lstStyle/>
        <a:p>
          <a:r>
            <a:rPr lang="de-DE" dirty="0" err="1"/>
            <a:t>Coverflow</a:t>
          </a:r>
          <a:endParaRPr lang="de-DE" dirty="0"/>
        </a:p>
      </dgm:t>
    </dgm:pt>
    <dgm:pt modelId="{41AC0BD4-AD67-4AF8-9491-0F3A609ECBB2}" type="parTrans" cxnId="{6F92B4F3-487B-405D-B988-883B697338B6}">
      <dgm:prSet/>
      <dgm:spPr/>
      <dgm:t>
        <a:bodyPr/>
        <a:lstStyle/>
        <a:p>
          <a:endParaRPr lang="de-DE"/>
        </a:p>
      </dgm:t>
    </dgm:pt>
    <dgm:pt modelId="{A702D653-F39F-4D30-97C1-8086BD602CE1}" type="sibTrans" cxnId="{6F92B4F3-487B-405D-B988-883B697338B6}">
      <dgm:prSet/>
      <dgm:spPr/>
      <dgm:t>
        <a:bodyPr/>
        <a:lstStyle/>
        <a:p>
          <a:endParaRPr lang="de-DE"/>
        </a:p>
      </dgm:t>
    </dgm:pt>
    <dgm:pt modelId="{93F83D77-0206-4CE2-A5BB-8C20A36B2191}">
      <dgm:prSet/>
      <dgm:spPr/>
      <dgm:t>
        <a:bodyPr/>
        <a:lstStyle/>
        <a:p>
          <a:r>
            <a:rPr lang="de-DE" dirty="0"/>
            <a:t>Übersicht Tagesplanung</a:t>
          </a:r>
        </a:p>
      </dgm:t>
    </dgm:pt>
    <dgm:pt modelId="{674B0454-1BF6-439B-B3C3-2E9D916B07B3}" type="parTrans" cxnId="{4705C82A-2588-47AE-99FA-880ACF785DFD}">
      <dgm:prSet/>
      <dgm:spPr/>
      <dgm:t>
        <a:bodyPr/>
        <a:lstStyle/>
        <a:p>
          <a:endParaRPr lang="de-DE"/>
        </a:p>
      </dgm:t>
    </dgm:pt>
    <dgm:pt modelId="{98360917-C754-49C3-8FF9-C4BA4253EBFD}" type="sibTrans" cxnId="{4705C82A-2588-47AE-99FA-880ACF785DFD}">
      <dgm:prSet/>
      <dgm:spPr/>
      <dgm:t>
        <a:bodyPr/>
        <a:lstStyle/>
        <a:p>
          <a:endParaRPr lang="de-DE"/>
        </a:p>
      </dgm:t>
    </dgm:pt>
    <dgm:pt modelId="{DFCFE2F8-DAB0-472E-8CC4-CC2FFCBC750A}" type="pres">
      <dgm:prSet presAssocID="{AE17B48C-BB42-490E-9586-6A8DBF628B32}" presName="Name0" presStyleCnt="0">
        <dgm:presLayoutVars>
          <dgm:dir/>
          <dgm:animLvl val="lvl"/>
          <dgm:resizeHandles val="exact"/>
        </dgm:presLayoutVars>
      </dgm:prSet>
      <dgm:spPr/>
    </dgm:pt>
    <dgm:pt modelId="{3390CE8C-BA63-4967-BCD9-CEF234C7EB65}" type="pres">
      <dgm:prSet presAssocID="{4971BEA4-F97B-46D8-9EF6-EC60BE633E36}" presName="composite" presStyleCnt="0"/>
      <dgm:spPr/>
    </dgm:pt>
    <dgm:pt modelId="{66E0282D-838E-4A0F-9CF4-F9F97252A71F}" type="pres">
      <dgm:prSet presAssocID="{4971BEA4-F97B-46D8-9EF6-EC60BE633E36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00BE9E2E-7C01-404C-A391-66C987A35260}" type="pres">
      <dgm:prSet presAssocID="{4971BEA4-F97B-46D8-9EF6-EC60BE633E36}" presName="desTx" presStyleLbl="alignAccFollowNode1" presStyleIdx="0" presStyleCnt="4">
        <dgm:presLayoutVars>
          <dgm:bulletEnabled val="1"/>
        </dgm:presLayoutVars>
      </dgm:prSet>
      <dgm:spPr/>
    </dgm:pt>
    <dgm:pt modelId="{C0423586-114F-4C8C-A9EC-DCCC9CF07732}" type="pres">
      <dgm:prSet presAssocID="{90E53B0F-A834-4637-8A3A-9C0D6CF664D0}" presName="space" presStyleCnt="0"/>
      <dgm:spPr/>
    </dgm:pt>
    <dgm:pt modelId="{4B9C5F36-8191-4726-B5CE-51895654D7D2}" type="pres">
      <dgm:prSet presAssocID="{3E91B408-89D7-4FB8-B2D3-F4A821C0EE3C}" presName="composite" presStyleCnt="0"/>
      <dgm:spPr/>
    </dgm:pt>
    <dgm:pt modelId="{3BF45AF5-4E3D-4DED-93EF-BA25B0FC3A83}" type="pres">
      <dgm:prSet presAssocID="{3E91B408-89D7-4FB8-B2D3-F4A821C0EE3C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59654C77-95A1-4EA3-A7EE-042B8506ED1E}" type="pres">
      <dgm:prSet presAssocID="{3E91B408-89D7-4FB8-B2D3-F4A821C0EE3C}" presName="desTx" presStyleLbl="alignAccFollowNode1" presStyleIdx="1" presStyleCnt="4">
        <dgm:presLayoutVars>
          <dgm:bulletEnabled val="1"/>
        </dgm:presLayoutVars>
      </dgm:prSet>
      <dgm:spPr/>
    </dgm:pt>
    <dgm:pt modelId="{28604123-DCC1-4F50-8C88-05688D497F77}" type="pres">
      <dgm:prSet presAssocID="{F2EABE62-0317-4CAD-9FAC-C322AE95434B}" presName="space" presStyleCnt="0"/>
      <dgm:spPr/>
    </dgm:pt>
    <dgm:pt modelId="{B13D6630-C200-4F27-9151-341BF1CEC64A}" type="pres">
      <dgm:prSet presAssocID="{6BE88B50-E4D4-4F94-910D-3D7A94DD40EE}" presName="composite" presStyleCnt="0"/>
      <dgm:spPr/>
    </dgm:pt>
    <dgm:pt modelId="{FF70E67B-6A86-4019-AA7F-1377A4705055}" type="pres">
      <dgm:prSet presAssocID="{6BE88B50-E4D4-4F94-910D-3D7A94DD40EE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CAAE45F6-E53C-4535-A69F-D4D0DD2A6B3E}" type="pres">
      <dgm:prSet presAssocID="{6BE88B50-E4D4-4F94-910D-3D7A94DD40EE}" presName="desTx" presStyleLbl="alignAccFollowNode1" presStyleIdx="2" presStyleCnt="4">
        <dgm:presLayoutVars>
          <dgm:bulletEnabled val="1"/>
        </dgm:presLayoutVars>
      </dgm:prSet>
      <dgm:spPr/>
    </dgm:pt>
    <dgm:pt modelId="{59EF7130-E9FC-421D-9F43-61495B422131}" type="pres">
      <dgm:prSet presAssocID="{D209D9C6-7AD7-40F4-B3DF-6F511D7E7955}" presName="space" presStyleCnt="0"/>
      <dgm:spPr/>
    </dgm:pt>
    <dgm:pt modelId="{D1796704-5620-4A5B-9640-C57CD1EF6CA7}" type="pres">
      <dgm:prSet presAssocID="{3BE10C99-6DC6-4E87-953D-C88376258E58}" presName="composite" presStyleCnt="0"/>
      <dgm:spPr/>
    </dgm:pt>
    <dgm:pt modelId="{92E716A3-92CA-487B-877A-4769F079ED8C}" type="pres">
      <dgm:prSet presAssocID="{3BE10C99-6DC6-4E87-953D-C88376258E58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5347B0EA-3E00-47C4-AFFF-E06864436BA4}" type="pres">
      <dgm:prSet presAssocID="{3BE10C99-6DC6-4E87-953D-C88376258E58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7708FC15-AD60-4B3B-B5DE-F644D1CCE8A7}" type="presOf" srcId="{93F83D77-0206-4CE2-A5BB-8C20A36B2191}" destId="{5347B0EA-3E00-47C4-AFFF-E06864436BA4}" srcOrd="0" destOrd="1" presId="urn:microsoft.com/office/officeart/2005/8/layout/hList1"/>
    <dgm:cxn modelId="{C0BD091D-826F-4533-ADEB-426785981FE6}" type="presOf" srcId="{AE17B48C-BB42-490E-9586-6A8DBF628B32}" destId="{DFCFE2F8-DAB0-472E-8CC4-CC2FFCBC750A}" srcOrd="0" destOrd="0" presId="urn:microsoft.com/office/officeart/2005/8/layout/hList1"/>
    <dgm:cxn modelId="{4705C82A-2588-47AE-99FA-880ACF785DFD}" srcId="{3BE10C99-6DC6-4E87-953D-C88376258E58}" destId="{93F83D77-0206-4CE2-A5BB-8C20A36B2191}" srcOrd="1" destOrd="0" parTransId="{674B0454-1BF6-439B-B3C3-2E9D916B07B3}" sibTransId="{98360917-C754-49C3-8FF9-C4BA4253EBFD}"/>
    <dgm:cxn modelId="{15AFAF2D-4FD5-48E1-BFDC-B17537D35131}" srcId="{6BE88B50-E4D4-4F94-910D-3D7A94DD40EE}" destId="{62F91E36-3D3A-4212-9E76-995EA8AEF494}" srcOrd="0" destOrd="0" parTransId="{A167E218-A894-4D5C-9E5E-1F66A41E0675}" sibTransId="{9D6E74B1-C781-4E37-A9FB-61C010108E86}"/>
    <dgm:cxn modelId="{0B753142-7751-4AFC-BC75-6ED1C58CFC5F}" type="presOf" srcId="{81749D5E-4662-4079-817B-6F235F4EB56F}" destId="{00BE9E2E-7C01-404C-A391-66C987A35260}" srcOrd="0" destOrd="1" presId="urn:microsoft.com/office/officeart/2005/8/layout/hList1"/>
    <dgm:cxn modelId="{8C293B6D-F0D4-4533-8C3A-DA0F1C9F90BF}" type="presOf" srcId="{63B67F89-9A62-4927-971B-00A91AF54FD5}" destId="{59654C77-95A1-4EA3-A7EE-042B8506ED1E}" srcOrd="0" destOrd="0" presId="urn:microsoft.com/office/officeart/2005/8/layout/hList1"/>
    <dgm:cxn modelId="{21F3D253-73AF-4EF5-85A1-B13300CDC4B4}" type="presOf" srcId="{6BE88B50-E4D4-4F94-910D-3D7A94DD40EE}" destId="{FF70E67B-6A86-4019-AA7F-1377A4705055}" srcOrd="0" destOrd="0" presId="urn:microsoft.com/office/officeart/2005/8/layout/hList1"/>
    <dgm:cxn modelId="{3B891459-5169-4D3D-9D53-AC04A76C11F6}" srcId="{4971BEA4-F97B-46D8-9EF6-EC60BE633E36}" destId="{81749D5E-4662-4079-817B-6F235F4EB56F}" srcOrd="1" destOrd="0" parTransId="{3FD927AE-8EB1-410A-B69A-D11267B036E1}" sibTransId="{535C413F-4CD3-48F0-85C9-4C7EE2179CD6}"/>
    <dgm:cxn modelId="{B59CB17C-1388-4240-92F6-20A0B1F37E38}" type="presOf" srcId="{3BE10C99-6DC6-4E87-953D-C88376258E58}" destId="{92E716A3-92CA-487B-877A-4769F079ED8C}" srcOrd="0" destOrd="0" presId="urn:microsoft.com/office/officeart/2005/8/layout/hList1"/>
    <dgm:cxn modelId="{22EDF37D-36AD-4E1D-A367-772200D43C68}" type="presOf" srcId="{59DE8BA2-EE88-40E5-802C-377807393AF2}" destId="{00BE9E2E-7C01-404C-A391-66C987A35260}" srcOrd="0" destOrd="0" presId="urn:microsoft.com/office/officeart/2005/8/layout/hList1"/>
    <dgm:cxn modelId="{509E7780-A3AB-48FC-9128-167CC99C49BA}" type="presOf" srcId="{4971BEA4-F97B-46D8-9EF6-EC60BE633E36}" destId="{66E0282D-838E-4A0F-9CF4-F9F97252A71F}" srcOrd="0" destOrd="0" presId="urn:microsoft.com/office/officeart/2005/8/layout/hList1"/>
    <dgm:cxn modelId="{B5652A82-D241-498F-892A-2B9CE5287912}" srcId="{AE17B48C-BB42-490E-9586-6A8DBF628B32}" destId="{3E91B408-89D7-4FB8-B2D3-F4A821C0EE3C}" srcOrd="1" destOrd="0" parTransId="{0B3A3205-3485-4CFA-8E8C-3A6735355FC3}" sibTransId="{F2EABE62-0317-4CAD-9FAC-C322AE95434B}"/>
    <dgm:cxn modelId="{99235586-EA0E-434A-A9A9-B2029AA7D77B}" srcId="{AE17B48C-BB42-490E-9586-6A8DBF628B32}" destId="{3BE10C99-6DC6-4E87-953D-C88376258E58}" srcOrd="3" destOrd="0" parTransId="{84B6FA8C-BBAB-4CE1-A80C-B57BE7FD97B6}" sibTransId="{00281E7C-A380-428A-88A3-C750096B1F35}"/>
    <dgm:cxn modelId="{71A8C89F-9821-4F9C-901E-2DF2DD56680D}" srcId="{AE17B48C-BB42-490E-9586-6A8DBF628B32}" destId="{6BE88B50-E4D4-4F94-910D-3D7A94DD40EE}" srcOrd="2" destOrd="0" parTransId="{EC02C216-738E-4F7F-BB5A-9C7CD44DE825}" sibTransId="{D209D9C6-7AD7-40F4-B3DF-6F511D7E7955}"/>
    <dgm:cxn modelId="{CA8F00A8-A354-4062-8905-02B5FC067975}" srcId="{4971BEA4-F97B-46D8-9EF6-EC60BE633E36}" destId="{59DE8BA2-EE88-40E5-802C-377807393AF2}" srcOrd="0" destOrd="0" parTransId="{04E778E4-43A2-4555-9357-100F7F297706}" sibTransId="{EB5C50F7-5E4C-4C79-9521-0B70C96D8848}"/>
    <dgm:cxn modelId="{58EC72A9-B31F-4413-A348-97A9D94B4590}" type="presOf" srcId="{3320A753-8855-4DC7-AE6B-859FA298BF4D}" destId="{5347B0EA-3E00-47C4-AFFF-E06864436BA4}" srcOrd="0" destOrd="0" presId="urn:microsoft.com/office/officeart/2005/8/layout/hList1"/>
    <dgm:cxn modelId="{A1915EB8-42CF-4CB9-875B-8804ABF3C159}" srcId="{AE17B48C-BB42-490E-9586-6A8DBF628B32}" destId="{4971BEA4-F97B-46D8-9EF6-EC60BE633E36}" srcOrd="0" destOrd="0" parTransId="{A0A608A7-8C54-478D-A7FD-1B413596610F}" sibTransId="{90E53B0F-A834-4637-8A3A-9C0D6CF664D0}"/>
    <dgm:cxn modelId="{6466F2C8-0461-4F05-A0AA-D66CA436F89B}" type="presOf" srcId="{3E91B408-89D7-4FB8-B2D3-F4A821C0EE3C}" destId="{3BF45AF5-4E3D-4DED-93EF-BA25B0FC3A83}" srcOrd="0" destOrd="0" presId="urn:microsoft.com/office/officeart/2005/8/layout/hList1"/>
    <dgm:cxn modelId="{C22063C9-8770-4C7A-A6C3-239DC59D3A45}" srcId="{3E91B408-89D7-4FB8-B2D3-F4A821C0EE3C}" destId="{63B67F89-9A62-4927-971B-00A91AF54FD5}" srcOrd="0" destOrd="0" parTransId="{6740EBE1-59D0-4B70-BC69-35FFA0193947}" sibTransId="{02290093-F86E-481E-BCE8-E293151546FB}"/>
    <dgm:cxn modelId="{3E92AFE3-1169-4E45-933F-822569574743}" type="presOf" srcId="{62F91E36-3D3A-4212-9E76-995EA8AEF494}" destId="{CAAE45F6-E53C-4535-A69F-D4D0DD2A6B3E}" srcOrd="0" destOrd="0" presId="urn:microsoft.com/office/officeart/2005/8/layout/hList1"/>
    <dgm:cxn modelId="{6F92B4F3-487B-405D-B988-883B697338B6}" srcId="{3BE10C99-6DC6-4E87-953D-C88376258E58}" destId="{3320A753-8855-4DC7-AE6B-859FA298BF4D}" srcOrd="0" destOrd="0" parTransId="{41AC0BD4-AD67-4AF8-9491-0F3A609ECBB2}" sibTransId="{A702D653-F39F-4D30-97C1-8086BD602CE1}"/>
    <dgm:cxn modelId="{C24A0086-A4C7-4620-9746-3650D086095C}" type="presParOf" srcId="{DFCFE2F8-DAB0-472E-8CC4-CC2FFCBC750A}" destId="{3390CE8C-BA63-4967-BCD9-CEF234C7EB65}" srcOrd="0" destOrd="0" presId="urn:microsoft.com/office/officeart/2005/8/layout/hList1"/>
    <dgm:cxn modelId="{DC9D20B9-0122-49A3-BED4-8FF7843E51EA}" type="presParOf" srcId="{3390CE8C-BA63-4967-BCD9-CEF234C7EB65}" destId="{66E0282D-838E-4A0F-9CF4-F9F97252A71F}" srcOrd="0" destOrd="0" presId="urn:microsoft.com/office/officeart/2005/8/layout/hList1"/>
    <dgm:cxn modelId="{9E54F637-8CD7-476A-BF0C-8438FFE70D73}" type="presParOf" srcId="{3390CE8C-BA63-4967-BCD9-CEF234C7EB65}" destId="{00BE9E2E-7C01-404C-A391-66C987A35260}" srcOrd="1" destOrd="0" presId="urn:microsoft.com/office/officeart/2005/8/layout/hList1"/>
    <dgm:cxn modelId="{DDA24467-9C31-4EBA-8B1A-CE81CB5D06B8}" type="presParOf" srcId="{DFCFE2F8-DAB0-472E-8CC4-CC2FFCBC750A}" destId="{C0423586-114F-4C8C-A9EC-DCCC9CF07732}" srcOrd="1" destOrd="0" presId="urn:microsoft.com/office/officeart/2005/8/layout/hList1"/>
    <dgm:cxn modelId="{972531EA-4223-4E1A-A6CD-488033BE2972}" type="presParOf" srcId="{DFCFE2F8-DAB0-472E-8CC4-CC2FFCBC750A}" destId="{4B9C5F36-8191-4726-B5CE-51895654D7D2}" srcOrd="2" destOrd="0" presId="urn:microsoft.com/office/officeart/2005/8/layout/hList1"/>
    <dgm:cxn modelId="{C1971822-2CB9-4B06-907D-3C0AB80FB65A}" type="presParOf" srcId="{4B9C5F36-8191-4726-B5CE-51895654D7D2}" destId="{3BF45AF5-4E3D-4DED-93EF-BA25B0FC3A83}" srcOrd="0" destOrd="0" presId="urn:microsoft.com/office/officeart/2005/8/layout/hList1"/>
    <dgm:cxn modelId="{C1FA7D9F-93FF-4772-923C-10F280C34154}" type="presParOf" srcId="{4B9C5F36-8191-4726-B5CE-51895654D7D2}" destId="{59654C77-95A1-4EA3-A7EE-042B8506ED1E}" srcOrd="1" destOrd="0" presId="urn:microsoft.com/office/officeart/2005/8/layout/hList1"/>
    <dgm:cxn modelId="{AE806239-A3F1-4936-947C-3E06E08E6E75}" type="presParOf" srcId="{DFCFE2F8-DAB0-472E-8CC4-CC2FFCBC750A}" destId="{28604123-DCC1-4F50-8C88-05688D497F77}" srcOrd="3" destOrd="0" presId="urn:microsoft.com/office/officeart/2005/8/layout/hList1"/>
    <dgm:cxn modelId="{CCF92AC2-1A10-4419-8F53-22D68FA2FA67}" type="presParOf" srcId="{DFCFE2F8-DAB0-472E-8CC4-CC2FFCBC750A}" destId="{B13D6630-C200-4F27-9151-341BF1CEC64A}" srcOrd="4" destOrd="0" presId="urn:microsoft.com/office/officeart/2005/8/layout/hList1"/>
    <dgm:cxn modelId="{67336332-3602-49E7-8041-756E47745B0A}" type="presParOf" srcId="{B13D6630-C200-4F27-9151-341BF1CEC64A}" destId="{FF70E67B-6A86-4019-AA7F-1377A4705055}" srcOrd="0" destOrd="0" presId="urn:microsoft.com/office/officeart/2005/8/layout/hList1"/>
    <dgm:cxn modelId="{FC0CA16E-92C1-4F2E-B526-A632E8747218}" type="presParOf" srcId="{B13D6630-C200-4F27-9151-341BF1CEC64A}" destId="{CAAE45F6-E53C-4535-A69F-D4D0DD2A6B3E}" srcOrd="1" destOrd="0" presId="urn:microsoft.com/office/officeart/2005/8/layout/hList1"/>
    <dgm:cxn modelId="{774A010A-5E6F-414E-9CA2-4249886CB934}" type="presParOf" srcId="{DFCFE2F8-DAB0-472E-8CC4-CC2FFCBC750A}" destId="{59EF7130-E9FC-421D-9F43-61495B422131}" srcOrd="5" destOrd="0" presId="urn:microsoft.com/office/officeart/2005/8/layout/hList1"/>
    <dgm:cxn modelId="{6E33ADEB-E77C-4369-85DF-77E46D84799D}" type="presParOf" srcId="{DFCFE2F8-DAB0-472E-8CC4-CC2FFCBC750A}" destId="{D1796704-5620-4A5B-9640-C57CD1EF6CA7}" srcOrd="6" destOrd="0" presId="urn:microsoft.com/office/officeart/2005/8/layout/hList1"/>
    <dgm:cxn modelId="{3C26D4FD-524E-4025-AFFB-DEE0B011FCE8}" type="presParOf" srcId="{D1796704-5620-4A5B-9640-C57CD1EF6CA7}" destId="{92E716A3-92CA-487B-877A-4769F079ED8C}" srcOrd="0" destOrd="0" presId="urn:microsoft.com/office/officeart/2005/8/layout/hList1"/>
    <dgm:cxn modelId="{F8B81CC7-ED4F-47BA-B25E-A7DB8F1E0A13}" type="presParOf" srcId="{D1796704-5620-4A5B-9640-C57CD1EF6CA7}" destId="{5347B0EA-3E00-47C4-AFFF-E06864436BA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DDF03E-C849-49BD-A446-791B8B13BE80}">
      <dsp:nvSpPr>
        <dsp:cNvPr id="0" name=""/>
        <dsp:cNvSpPr/>
      </dsp:nvSpPr>
      <dsp:spPr>
        <a:xfrm>
          <a:off x="0" y="1080567"/>
          <a:ext cx="2957512" cy="18780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21825E-A34E-4A01-8170-8380CD37068C}">
      <dsp:nvSpPr>
        <dsp:cNvPr id="0" name=""/>
        <dsp:cNvSpPr/>
      </dsp:nvSpPr>
      <dsp:spPr>
        <a:xfrm>
          <a:off x="328612" y="1392749"/>
          <a:ext cx="2957512" cy="187802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/>
            <a:t>85% erledigt</a:t>
          </a:r>
          <a:endParaRPr lang="en-US" sz="3500" kern="1200"/>
        </a:p>
      </dsp:txBody>
      <dsp:txXfrm>
        <a:off x="383617" y="1447754"/>
        <a:ext cx="2847502" cy="1768010"/>
      </dsp:txXfrm>
    </dsp:sp>
    <dsp:sp modelId="{5DFD6188-A9A6-4600-88A6-51E4E9FECBF1}">
      <dsp:nvSpPr>
        <dsp:cNvPr id="0" name=""/>
        <dsp:cNvSpPr/>
      </dsp:nvSpPr>
      <dsp:spPr>
        <a:xfrm>
          <a:off x="3614737" y="1080567"/>
          <a:ext cx="2957512" cy="18780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D9A3DE-7083-4B1E-836D-3D5D95C33644}">
      <dsp:nvSpPr>
        <dsp:cNvPr id="0" name=""/>
        <dsp:cNvSpPr/>
      </dsp:nvSpPr>
      <dsp:spPr>
        <a:xfrm>
          <a:off x="3943350" y="1392749"/>
          <a:ext cx="2957512" cy="187802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/>
            <a:t>Funktionen soweit vollständig</a:t>
          </a:r>
          <a:endParaRPr lang="en-US" sz="3500" kern="1200" dirty="0"/>
        </a:p>
      </dsp:txBody>
      <dsp:txXfrm>
        <a:off x="3998355" y="1447754"/>
        <a:ext cx="2847502" cy="1768010"/>
      </dsp:txXfrm>
    </dsp:sp>
    <dsp:sp modelId="{1F924F10-3C54-4334-9A1E-22BC07F9D799}">
      <dsp:nvSpPr>
        <dsp:cNvPr id="0" name=""/>
        <dsp:cNvSpPr/>
      </dsp:nvSpPr>
      <dsp:spPr>
        <a:xfrm>
          <a:off x="7229475" y="1080567"/>
          <a:ext cx="2957512" cy="18780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AF1FCF-FA65-4CD2-9A42-D93A3F5725F9}">
      <dsp:nvSpPr>
        <dsp:cNvPr id="0" name=""/>
        <dsp:cNvSpPr/>
      </dsp:nvSpPr>
      <dsp:spPr>
        <a:xfrm>
          <a:off x="7558087" y="1392749"/>
          <a:ext cx="2957512" cy="187802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/>
            <a:t>Testphase</a:t>
          </a:r>
          <a:endParaRPr lang="en-US" sz="3500" kern="1200" dirty="0"/>
        </a:p>
      </dsp:txBody>
      <dsp:txXfrm>
        <a:off x="7613092" y="1447754"/>
        <a:ext cx="2847502" cy="17680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E0282D-838E-4A0F-9CF4-F9F97252A71F}">
      <dsp:nvSpPr>
        <dsp:cNvPr id="0" name=""/>
        <dsp:cNvSpPr/>
      </dsp:nvSpPr>
      <dsp:spPr>
        <a:xfrm>
          <a:off x="3953" y="846888"/>
          <a:ext cx="2377306" cy="90762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01600" rIns="177800" bIns="1016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/>
            <a:t>Suchfunktion </a:t>
          </a:r>
          <a:endParaRPr lang="en-US" sz="2500" kern="1200"/>
        </a:p>
      </dsp:txBody>
      <dsp:txXfrm>
        <a:off x="3953" y="846888"/>
        <a:ext cx="2377306" cy="907624"/>
      </dsp:txXfrm>
    </dsp:sp>
    <dsp:sp modelId="{00BE9E2E-7C01-404C-A391-66C987A35260}">
      <dsp:nvSpPr>
        <dsp:cNvPr id="0" name=""/>
        <dsp:cNvSpPr/>
      </dsp:nvSpPr>
      <dsp:spPr>
        <a:xfrm>
          <a:off x="3953" y="1754512"/>
          <a:ext cx="2377306" cy="1749937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77800" bIns="200025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500" kern="1200" dirty="0"/>
            <a:t>Autocomplete</a:t>
          </a:r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500" kern="1200" dirty="0"/>
            <a:t>Zentriert</a:t>
          </a:r>
        </a:p>
      </dsp:txBody>
      <dsp:txXfrm>
        <a:off x="3953" y="1754512"/>
        <a:ext cx="2377306" cy="1749937"/>
      </dsp:txXfrm>
    </dsp:sp>
    <dsp:sp modelId="{3BF45AF5-4E3D-4DED-93EF-BA25B0FC3A83}">
      <dsp:nvSpPr>
        <dsp:cNvPr id="0" name=""/>
        <dsp:cNvSpPr/>
      </dsp:nvSpPr>
      <dsp:spPr>
        <a:xfrm>
          <a:off x="2714082" y="846888"/>
          <a:ext cx="2377306" cy="907624"/>
        </a:xfrm>
        <a:prstGeom prst="rect">
          <a:avLst/>
        </a:prstGeom>
        <a:solidFill>
          <a:schemeClr val="accent5">
            <a:hueOff val="-2252848"/>
            <a:satOff val="-5806"/>
            <a:lumOff val="-3922"/>
            <a:alphaOff val="0"/>
          </a:schemeClr>
        </a:solidFill>
        <a:ln w="12700" cap="flat" cmpd="sng" algn="ctr">
          <a:solidFill>
            <a:schemeClr val="accent5">
              <a:hueOff val="-2252848"/>
              <a:satOff val="-5806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01600" rIns="177800" bIns="1016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/>
            <a:t>Dreamday </a:t>
          </a:r>
          <a:endParaRPr lang="en-US" sz="2500" kern="1200"/>
        </a:p>
      </dsp:txBody>
      <dsp:txXfrm>
        <a:off x="2714082" y="846888"/>
        <a:ext cx="2377306" cy="907624"/>
      </dsp:txXfrm>
    </dsp:sp>
    <dsp:sp modelId="{59654C77-95A1-4EA3-A7EE-042B8506ED1E}">
      <dsp:nvSpPr>
        <dsp:cNvPr id="0" name=""/>
        <dsp:cNvSpPr/>
      </dsp:nvSpPr>
      <dsp:spPr>
        <a:xfrm>
          <a:off x="2714082" y="1754512"/>
          <a:ext cx="2377306" cy="1749937"/>
        </a:xfrm>
        <a:prstGeom prst="rect">
          <a:avLst/>
        </a:prstGeom>
        <a:solidFill>
          <a:schemeClr val="accent5">
            <a:tint val="40000"/>
            <a:alpha val="90000"/>
            <a:hueOff val="-2246587"/>
            <a:satOff val="-7611"/>
            <a:lumOff val="-976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2246587"/>
              <a:satOff val="-7611"/>
              <a:lumOff val="-97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77800" bIns="200025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500" kern="1200"/>
            <a:t>Austausch von Aktivität</a:t>
          </a:r>
          <a:endParaRPr lang="en-US" sz="2500" kern="1200"/>
        </a:p>
      </dsp:txBody>
      <dsp:txXfrm>
        <a:off x="2714082" y="1754512"/>
        <a:ext cx="2377306" cy="1749937"/>
      </dsp:txXfrm>
    </dsp:sp>
    <dsp:sp modelId="{FF70E67B-6A86-4019-AA7F-1377A4705055}">
      <dsp:nvSpPr>
        <dsp:cNvPr id="0" name=""/>
        <dsp:cNvSpPr/>
      </dsp:nvSpPr>
      <dsp:spPr>
        <a:xfrm>
          <a:off x="5424211" y="846888"/>
          <a:ext cx="2377306" cy="907624"/>
        </a:xfrm>
        <a:prstGeom prst="rect">
          <a:avLst/>
        </a:prstGeom>
        <a:solidFill>
          <a:schemeClr val="accent5">
            <a:hueOff val="-4505695"/>
            <a:satOff val="-11613"/>
            <a:lumOff val="-7843"/>
            <a:alphaOff val="0"/>
          </a:schemeClr>
        </a:solidFill>
        <a:ln w="12700" cap="flat" cmpd="sng" algn="ctr">
          <a:solidFill>
            <a:schemeClr val="accent5">
              <a:hueOff val="-4505695"/>
              <a:satOff val="-11613"/>
              <a:lumOff val="-784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01600" rIns="177800" bIns="1016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/>
            <a:t>Einträge hinzufügen </a:t>
          </a:r>
          <a:endParaRPr lang="en-US" sz="2500" kern="1200"/>
        </a:p>
      </dsp:txBody>
      <dsp:txXfrm>
        <a:off x="5424211" y="846888"/>
        <a:ext cx="2377306" cy="907624"/>
      </dsp:txXfrm>
    </dsp:sp>
    <dsp:sp modelId="{CAAE45F6-E53C-4535-A69F-D4D0DD2A6B3E}">
      <dsp:nvSpPr>
        <dsp:cNvPr id="0" name=""/>
        <dsp:cNvSpPr/>
      </dsp:nvSpPr>
      <dsp:spPr>
        <a:xfrm>
          <a:off x="5424211" y="1754512"/>
          <a:ext cx="2377306" cy="1749937"/>
        </a:xfrm>
        <a:prstGeom prst="rect">
          <a:avLst/>
        </a:prstGeom>
        <a:solidFill>
          <a:schemeClr val="accent5">
            <a:tint val="40000"/>
            <a:alpha val="90000"/>
            <a:hueOff val="-4493175"/>
            <a:satOff val="-15221"/>
            <a:lumOff val="-1952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4493175"/>
              <a:satOff val="-15221"/>
              <a:lumOff val="-195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77800" bIns="200025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500" kern="1200" dirty="0"/>
            <a:t>Bilder und Text im richtigen Format</a:t>
          </a:r>
        </a:p>
      </dsp:txBody>
      <dsp:txXfrm>
        <a:off x="5424211" y="1754512"/>
        <a:ext cx="2377306" cy="1749937"/>
      </dsp:txXfrm>
    </dsp:sp>
    <dsp:sp modelId="{92E716A3-92CA-487B-877A-4769F079ED8C}">
      <dsp:nvSpPr>
        <dsp:cNvPr id="0" name=""/>
        <dsp:cNvSpPr/>
      </dsp:nvSpPr>
      <dsp:spPr>
        <a:xfrm>
          <a:off x="8134340" y="846888"/>
          <a:ext cx="2377306" cy="907624"/>
        </a:xfrm>
        <a:prstGeom prst="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accent5">
              <a:hueOff val="-6758543"/>
              <a:satOff val="-17419"/>
              <a:lumOff val="-1176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01600" rIns="177800" bIns="1016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Tagesplanung</a:t>
          </a:r>
          <a:endParaRPr lang="en-US" sz="2500" kern="1200" dirty="0"/>
        </a:p>
      </dsp:txBody>
      <dsp:txXfrm>
        <a:off x="8134340" y="846888"/>
        <a:ext cx="2377306" cy="907624"/>
      </dsp:txXfrm>
    </dsp:sp>
    <dsp:sp modelId="{5347B0EA-3E00-47C4-AFFF-E06864436BA4}">
      <dsp:nvSpPr>
        <dsp:cNvPr id="0" name=""/>
        <dsp:cNvSpPr/>
      </dsp:nvSpPr>
      <dsp:spPr>
        <a:xfrm>
          <a:off x="8134340" y="1754512"/>
          <a:ext cx="2377306" cy="1749937"/>
        </a:xfrm>
        <a:prstGeom prst="rect">
          <a:avLst/>
        </a:prstGeom>
        <a:solidFill>
          <a:schemeClr val="accent5">
            <a:tint val="40000"/>
            <a:alpha val="90000"/>
            <a:hueOff val="-6739762"/>
            <a:satOff val="-22832"/>
            <a:lumOff val="-2928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6739762"/>
              <a:satOff val="-22832"/>
              <a:lumOff val="-29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77800" bIns="200025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500" kern="1200" dirty="0" err="1"/>
            <a:t>Coverflow</a:t>
          </a:r>
          <a:endParaRPr lang="de-DE" sz="2500" kern="1200" dirty="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500" kern="1200" dirty="0"/>
            <a:t>Übersicht Tagesplanung</a:t>
          </a:r>
        </a:p>
      </dsp:txBody>
      <dsp:txXfrm>
        <a:off x="8134340" y="1754512"/>
        <a:ext cx="2377306" cy="17499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358A8-AE7B-4BFE-B457-81647AEC3867}" type="datetimeFigureOut">
              <a:rPr lang="de-DE" smtClean="0"/>
              <a:t>18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195F06-2979-4773-8C8E-4480D26D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83088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8A5E046E-96C8-41CF-B523-011B53578905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9BC2D634-9034-4CC2-8A0A-4141382C2D6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 sz="100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26E83F-95E9-45BF-A144-772FEF622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0ECF4BF-8F75-46AD-A96C-A292F18D9C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FEB8A8-B16B-4C0E-905E-1B1CF5E5A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DE33A4-48AC-4AEC-AF88-65C61D4C7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28B8F8A-6916-416C-9C20-0707F9613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5186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FD6A8A-60B6-402F-AFB8-A1841562C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5060BBA-A377-479E-AD74-D0A2DCD0A3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680358-2C42-43EF-B458-65BC3462C0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6544923-11D3-4F6C-B9FA-4D8D6DF16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1F3EA7-EABE-45DE-8440-0AA8710C8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136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F637D77-1D42-403D-9BF2-FF948E7C78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317EFC8-BD9C-485D-8FC3-A908A27E6C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2AF8F7-E6F3-4333-B225-096F13D2BE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A0F21C-7527-4FF3-8532-3FD087C35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8B9A4E-97FD-425D-A131-2E98F70D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334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4808D3-0B8E-44FE-907E-3A621FF61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8E4EB5-47BF-407E-A03E-E30770D957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30E57E0-D30F-42D1-AA6D-DB3C62D90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D10128-5ADA-4BCC-BD05-3B2564210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87B22-0DBE-4C9E-B873-1729C2C4B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1317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076841-A263-49DB-AE44-36BDDAB79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6FF0C6-B336-4F67-8473-7FE1B76332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681D91-1F81-4F4C-A9E8-C46FF9C9B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E3BC29-86CC-4D29-8183-A45906396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16A228-156F-42B0-9CBF-E07325C493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3303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1EE6B4-C931-4810-9435-3A6CBEFD1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D1611F-A8B2-4143-9484-F7AB598DB8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D11101A-D31F-43F4-A655-BF21AA2A61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1561EB8-D40C-4654-BA07-02B8A737C8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3B6FE1D-36B7-4E71-AC7C-D1BE93167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F401031-6518-40F6-B158-7EA8AB14C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493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D3D891-141C-4495-ACE6-1A75908AC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0AD853-A1F0-4C92-9DE3-80E5C2A862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181D570-BB07-4156-8200-28DE626CA8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A22AC84-16FC-47D1-8C8A-D1504050FC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A596DC7-A96F-4DC1-9764-B7C8C841C17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3D3FBA-87A9-43EA-9503-B0DDC1076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1125B0-64A8-4BDF-B527-920B97A8EC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818F337-3543-4353-8F8A-B385B64E6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885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32335C-21D8-4115-AF31-7256DD5EC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C91D74-274C-45DA-95E9-F895855EA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CCBCD8B-C465-4C2F-AACF-BFD40B09A5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110336-1934-4193-BE7B-E371C504B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3095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362C49-0AFF-4473-BF3B-72F6C16B0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245C75-EE1E-4DA8-9D2D-83C5C3C23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B054F1-C7F9-441A-8C04-815D427C3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2703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B33784-0BDF-4F2D-BC94-7505D0A17E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499F24-8BD9-40EF-9615-362445D1B7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E0E9178-2766-4610-BA60-DA983F54FE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908B333-2F84-47DC-9D69-C17673037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D3C424-3865-43F5-8A69-F82B5F2868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693C95D-A654-4F89-9821-D2FD21759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1729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9FDF4D-70CA-41FD-885C-073AAA818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2B48FBB-FDA9-4838-83E2-8E0A9BF059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BE04BD9-054D-41F5-A264-4829EB1A8C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254EFB6-428D-444F-AF4B-26D72CA71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FD56FE-1296-45CC-A53A-0FA4401BB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AA4782A-92EF-4E7A-9D6D-F198F265C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608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E11213-EF30-41CE-9C3A-828C9B40A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ABCE39E-84C8-48C4-8C8A-00100EE5B1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622EDE-BD2D-4442-9E06-C4B90ECF38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35F0D9-3FEF-41AB-BF90-A45329B18CB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E1F5326-C492-4330-B8EA-FACF6DA02B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D206BA-1CFE-4686-BB01-6B8274614B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AFDE23-98A1-4190-AAA7-C1C2DF5A540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034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73A0EFE6-E366-4DEC-A6EB-2EA4DE1B6A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86186" y="3428999"/>
            <a:ext cx="4805691" cy="838831"/>
          </a:xfrm>
        </p:spPr>
        <p:txBody>
          <a:bodyPr anchor="b">
            <a:normAutofit/>
          </a:bodyPr>
          <a:lstStyle/>
          <a:p>
            <a:pPr algn="l"/>
            <a:r>
              <a:rPr lang="de-DE" sz="1800">
                <a:solidFill>
                  <a:srgbClr val="000000"/>
                </a:solidFill>
              </a:rPr>
              <a:t>Daniel Wenzl, Niklas Fichtner, Sven Hornung, Salam Al Hamoud, Stefan Roth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3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50670B0-0296-4D74-9949-3150767967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/>
          </a:blip>
          <a:srcRect l="20002" r="18733" b="-1"/>
          <a:stretch/>
        </p:blipFill>
        <p:spPr>
          <a:xfrm>
            <a:off x="1" y="770037"/>
            <a:ext cx="5298683" cy="6097438"/>
          </a:xfrm>
          <a:custGeom>
            <a:avLst/>
            <a:gdLst>
              <a:gd name="connsiteX0" fmla="*/ 2178155 w 5298683"/>
              <a:gd name="connsiteY0" fmla="*/ 0 h 6097438"/>
              <a:gd name="connsiteX1" fmla="*/ 5298683 w 5298683"/>
              <a:gd name="connsiteY1" fmla="*/ 3120527 h 6097438"/>
              <a:gd name="connsiteX2" fmla="*/ 3392805 w 5298683"/>
              <a:gd name="connsiteY2" fmla="*/ 5995828 h 6097438"/>
              <a:gd name="connsiteX3" fmla="*/ 3115184 w 5298683"/>
              <a:gd name="connsiteY3" fmla="*/ 6097438 h 6097438"/>
              <a:gd name="connsiteX4" fmla="*/ 1241127 w 5298683"/>
              <a:gd name="connsiteY4" fmla="*/ 6097438 h 6097438"/>
              <a:gd name="connsiteX5" fmla="*/ 963506 w 5298683"/>
              <a:gd name="connsiteY5" fmla="*/ 5995828 h 6097438"/>
              <a:gd name="connsiteX6" fmla="*/ 193210 w 5298683"/>
              <a:gd name="connsiteY6" fmla="*/ 5528477 h 6097438"/>
              <a:gd name="connsiteX7" fmla="*/ 0 w 5298683"/>
              <a:gd name="connsiteY7" fmla="*/ 5352876 h 6097438"/>
              <a:gd name="connsiteX8" fmla="*/ 0 w 5298683"/>
              <a:gd name="connsiteY8" fmla="*/ 888178 h 6097438"/>
              <a:gd name="connsiteX9" fmla="*/ 193210 w 5298683"/>
              <a:gd name="connsiteY9" fmla="*/ 712577 h 6097438"/>
              <a:gd name="connsiteX10" fmla="*/ 2178155 w 5298683"/>
              <a:gd name="connsiteY10" fmla="*/ 0 h 60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8683" h="6097438">
                <a:moveTo>
                  <a:pt x="2178155" y="0"/>
                </a:moveTo>
                <a:cubicBezTo>
                  <a:pt x="3901575" y="0"/>
                  <a:pt x="5298683" y="1397108"/>
                  <a:pt x="5298683" y="3120527"/>
                </a:cubicBezTo>
                <a:cubicBezTo>
                  <a:pt x="5298683" y="4413092"/>
                  <a:pt x="4512810" y="5522106"/>
                  <a:pt x="3392805" y="5995828"/>
                </a:cubicBezTo>
                <a:lnTo>
                  <a:pt x="3115184" y="6097438"/>
                </a:lnTo>
                <a:lnTo>
                  <a:pt x="1241127" y="6097438"/>
                </a:lnTo>
                <a:lnTo>
                  <a:pt x="963506" y="5995828"/>
                </a:lnTo>
                <a:cubicBezTo>
                  <a:pt x="683504" y="5877397"/>
                  <a:pt x="424387" y="5719261"/>
                  <a:pt x="193210" y="5528477"/>
                </a:cubicBezTo>
                <a:lnTo>
                  <a:pt x="0" y="5352876"/>
                </a:lnTo>
                <a:lnTo>
                  <a:pt x="0" y="888178"/>
                </a:lnTo>
                <a:lnTo>
                  <a:pt x="193210" y="712577"/>
                </a:lnTo>
                <a:cubicBezTo>
                  <a:pt x="732621" y="267415"/>
                  <a:pt x="1424159" y="0"/>
                  <a:pt x="217815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220756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enkblase: wolkenförmig 3">
            <a:extLst>
              <a:ext uri="{FF2B5EF4-FFF2-40B4-BE49-F238E27FC236}">
                <a16:creationId xmlns:a16="http://schemas.microsoft.com/office/drawing/2014/main" id="{7EE8DB5F-CF8E-4111-AE10-966D64437ADC}"/>
              </a:ext>
            </a:extLst>
          </p:cNvPr>
          <p:cNvSpPr/>
          <p:nvPr/>
        </p:nvSpPr>
        <p:spPr>
          <a:xfrm>
            <a:off x="651805" y="576775"/>
            <a:ext cx="9983371" cy="4279779"/>
          </a:xfrm>
          <a:prstGeom prst="cloudCallout">
            <a:avLst>
              <a:gd name="adj1" fmla="val -29509"/>
              <a:gd name="adj2" fmla="val 79976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43A3AC-647A-4968-B5F1-A8C940F9E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1858" y="1913206"/>
            <a:ext cx="9983371" cy="2000810"/>
          </a:xfrm>
        </p:spPr>
        <p:txBody>
          <a:bodyPr>
            <a:normAutofit fontScale="90000"/>
          </a:bodyPr>
          <a:lstStyle/>
          <a:p>
            <a:pPr algn="ctr"/>
            <a:r>
              <a:rPr lang="de-DE" sz="5400" dirty="0"/>
              <a:t>Wenn Sie an eine Städtereise denken,</a:t>
            </a:r>
            <a:br>
              <a:rPr lang="de-DE" sz="5400" dirty="0"/>
            </a:br>
            <a:r>
              <a:rPr lang="de-DE" sz="5400" dirty="0"/>
              <a:t>denken Sie an Urban Explorer</a:t>
            </a:r>
          </a:p>
        </p:txBody>
      </p:sp>
    </p:spTree>
    <p:extLst>
      <p:ext uri="{BB962C8B-B14F-4D97-AF65-F5344CB8AC3E}">
        <p14:creationId xmlns:p14="http://schemas.microsoft.com/office/powerpoint/2010/main" val="3570823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733024-9E7F-4814-9F16-C63A64641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100" y="978102"/>
            <a:ext cx="10588434" cy="1062644"/>
          </a:xfrm>
        </p:spPr>
        <p:txBody>
          <a:bodyPr anchor="b">
            <a:normAutofit/>
          </a:bodyPr>
          <a:lstStyle/>
          <a:p>
            <a:r>
              <a:rPr lang="de-DE"/>
              <a:t>Agenda </a:t>
            </a:r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9B7FDC9-F0CE-43A7-9F2A-83DD09DC3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047624" y="2265037"/>
            <a:ext cx="10125012" cy="0"/>
          </a:xfrm>
          <a:prstGeom prst="line">
            <a:avLst/>
          </a:prstGeom>
          <a:ln w="158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6B06B7A2-B574-4217-9F39-F8DCDC3A6E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48800" y="2614156"/>
            <a:ext cx="3536132" cy="3536132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EE9C7E2-1C7B-4F4E-B5E4-45845A9F57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7005" y="3262919"/>
            <a:ext cx="3687844" cy="1801411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3200" dirty="0"/>
              <a:t>Projektfortschritt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3200" dirty="0"/>
              <a:t>Statusbericht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3200" dirty="0"/>
              <a:t>Neue Funktionen</a:t>
            </a:r>
          </a:p>
        </p:txBody>
      </p:sp>
    </p:spTree>
    <p:extLst>
      <p:ext uri="{BB962C8B-B14F-4D97-AF65-F5344CB8AC3E}">
        <p14:creationId xmlns:p14="http://schemas.microsoft.com/office/powerpoint/2010/main" val="22599592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C498F6-7665-4F95-9068-726DA91B1C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de-DE" dirty="0"/>
              <a:t>1. Projektfortschritt</a:t>
            </a:r>
            <a:endParaRPr lang="en-US" dirty="0"/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FDC9C8C5-1CA2-4DEF-821E-924D0BF2CD8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367336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17110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>
            <a:extLst>
              <a:ext uri="{FF2B5EF4-FFF2-40B4-BE49-F238E27FC236}">
                <a16:creationId xmlns:a16="http://schemas.microsoft.com/office/drawing/2014/main" id="{B1B8087E-3D63-49D7-89E1-90054FE6C86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098" name="Object 2" hidden="1">
                        <a:extLst>
                          <a:ext uri="{FF2B5EF4-FFF2-40B4-BE49-F238E27FC236}">
                            <a16:creationId xmlns:a16="http://schemas.microsoft.com/office/drawing/2014/main" id="{B1B8087E-3D63-49D7-89E1-90054FE6C86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6">
            <a:extLst>
              <a:ext uri="{FF2B5EF4-FFF2-40B4-BE49-F238E27FC236}">
                <a16:creationId xmlns:a16="http://schemas.microsoft.com/office/drawing/2014/main" id="{F28A6111-D8B6-4A19-B28A-C8E286AE00B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9413" y="6232525"/>
            <a:ext cx="3351212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Tx/>
            </a:pPr>
            <a:r>
              <a:rPr lang="de-DE" altLang="de-DE" sz="800" b="1"/>
              <a:t>Aktuelle Risiken</a:t>
            </a:r>
          </a:p>
        </p:txBody>
      </p:sp>
      <p:sp>
        <p:nvSpPr>
          <p:cNvPr id="4100" name="Rectangle 7">
            <a:extLst>
              <a:ext uri="{FF2B5EF4-FFF2-40B4-BE49-F238E27FC236}">
                <a16:creationId xmlns:a16="http://schemas.microsoft.com/office/drawing/2014/main" id="{07567677-7673-4E2E-AD1E-07C7C17C43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1739" y="6224589"/>
            <a:ext cx="29289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Tx/>
            </a:pPr>
            <a:r>
              <a:rPr lang="de-DE" altLang="de-DE" sz="800" b="1"/>
              <a:t>Entscheidungsbedarf</a:t>
            </a:r>
          </a:p>
        </p:txBody>
      </p:sp>
      <p:sp>
        <p:nvSpPr>
          <p:cNvPr id="4101" name="Rectangle 8">
            <a:extLst>
              <a:ext uri="{FF2B5EF4-FFF2-40B4-BE49-F238E27FC236}">
                <a16:creationId xmlns:a16="http://schemas.microsoft.com/office/drawing/2014/main" id="{4EC1873C-03B7-41CD-91CB-33C387BB6C87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515270" y="249239"/>
            <a:ext cx="8793162" cy="292100"/>
          </a:xfrm>
          <a:noFill/>
        </p:spPr>
        <p:txBody>
          <a:bodyPr>
            <a:normAutofit fontScale="90000"/>
          </a:bodyPr>
          <a:lstStyle/>
          <a:p>
            <a:pPr defTabSz="895350">
              <a:tabLst>
                <a:tab pos="4306888" algn="l"/>
              </a:tabLst>
            </a:pPr>
            <a:r>
              <a:rPr lang="de-DE" altLang="de-DE" dirty="0"/>
              <a:t>2 . Statusbericht</a:t>
            </a:r>
          </a:p>
        </p:txBody>
      </p:sp>
      <p:sp>
        <p:nvSpPr>
          <p:cNvPr id="4102" name="Rectangle 45">
            <a:extLst>
              <a:ext uri="{FF2B5EF4-FFF2-40B4-BE49-F238E27FC236}">
                <a16:creationId xmlns:a16="http://schemas.microsoft.com/office/drawing/2014/main" id="{969DCDE0-8F3E-474F-8C83-0FCBA8B1A4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9414" y="2354264"/>
            <a:ext cx="1373187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Abgeschlossene Aktivitäten</a:t>
            </a:r>
          </a:p>
        </p:txBody>
      </p:sp>
      <p:sp>
        <p:nvSpPr>
          <p:cNvPr id="4103" name="Line 46">
            <a:extLst>
              <a:ext uri="{FF2B5EF4-FFF2-40B4-BE49-F238E27FC236}">
                <a16:creationId xmlns:a16="http://schemas.microsoft.com/office/drawing/2014/main" id="{B95E9635-4E83-45ED-B9BD-E484B01520E3}"/>
              </a:ext>
            </a:extLst>
          </p:cNvPr>
          <p:cNvSpPr>
            <a:spLocks noChangeShapeType="1"/>
          </p:cNvSpPr>
          <p:nvPr/>
        </p:nvSpPr>
        <p:spPr bwMode="gray">
          <a:xfrm>
            <a:off x="1617663" y="2470150"/>
            <a:ext cx="422751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104" name="Rectangle 47">
            <a:extLst>
              <a:ext uri="{FF2B5EF4-FFF2-40B4-BE49-F238E27FC236}">
                <a16:creationId xmlns:a16="http://schemas.microsoft.com/office/drawing/2014/main" id="{8F376221-999B-4643-8DD3-501A213C8B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5426" y="2354263"/>
            <a:ext cx="343043" cy="1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Termin</a:t>
            </a:r>
          </a:p>
        </p:txBody>
      </p:sp>
      <p:sp>
        <p:nvSpPr>
          <p:cNvPr id="4105" name="Rectangle 48">
            <a:extLst>
              <a:ext uri="{FF2B5EF4-FFF2-40B4-BE49-F238E27FC236}">
                <a16:creationId xmlns:a16="http://schemas.microsoft.com/office/drawing/2014/main" id="{94A484B6-9B35-4766-A0BD-27DE3653C0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1738" y="2328864"/>
            <a:ext cx="857250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Sonstige Themen</a:t>
            </a:r>
          </a:p>
        </p:txBody>
      </p:sp>
      <p:sp>
        <p:nvSpPr>
          <p:cNvPr id="4106" name="Rectangle 49">
            <a:extLst>
              <a:ext uri="{FF2B5EF4-FFF2-40B4-BE49-F238E27FC236}">
                <a16:creationId xmlns:a16="http://schemas.microsoft.com/office/drawing/2014/main" id="{142F5A07-D1C8-49E8-A9C0-1D5173EFEFA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3539" y="4252913"/>
            <a:ext cx="1078821" cy="1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Zukünftige Aktivitäten</a:t>
            </a:r>
          </a:p>
        </p:txBody>
      </p:sp>
      <p:sp>
        <p:nvSpPr>
          <p:cNvPr id="4107" name="Rectangle 50">
            <a:extLst>
              <a:ext uri="{FF2B5EF4-FFF2-40B4-BE49-F238E27FC236}">
                <a16:creationId xmlns:a16="http://schemas.microsoft.com/office/drawing/2014/main" id="{800F5891-B337-47A0-81CB-99FC4891261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89551" y="4252914"/>
            <a:ext cx="549275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Ziel-Termin</a:t>
            </a:r>
          </a:p>
        </p:txBody>
      </p:sp>
      <p:sp>
        <p:nvSpPr>
          <p:cNvPr id="4108" name="Line 51">
            <a:extLst>
              <a:ext uri="{FF2B5EF4-FFF2-40B4-BE49-F238E27FC236}">
                <a16:creationId xmlns:a16="http://schemas.microsoft.com/office/drawing/2014/main" id="{F8BA2DC4-7866-4093-BEF7-9A359111823D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1739" y="6381750"/>
            <a:ext cx="42624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109" name="Line 53">
            <a:extLst>
              <a:ext uri="{FF2B5EF4-FFF2-40B4-BE49-F238E27FC236}">
                <a16:creationId xmlns:a16="http://schemas.microsoft.com/office/drawing/2014/main" id="{95670D30-A28A-4285-BD19-C454953472A6}"/>
              </a:ext>
            </a:extLst>
          </p:cNvPr>
          <p:cNvSpPr>
            <a:spLocks noChangeShapeType="1"/>
          </p:cNvSpPr>
          <p:nvPr/>
        </p:nvSpPr>
        <p:spPr bwMode="gray">
          <a:xfrm>
            <a:off x="1633539" y="4418013"/>
            <a:ext cx="42624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110" name="Line 54">
            <a:extLst>
              <a:ext uri="{FF2B5EF4-FFF2-40B4-BE49-F238E27FC236}">
                <a16:creationId xmlns:a16="http://schemas.microsoft.com/office/drawing/2014/main" id="{544D9187-C8F4-46B8-AD54-6D6CCBE75662}"/>
              </a:ext>
            </a:extLst>
          </p:cNvPr>
          <p:cNvSpPr>
            <a:spLocks noChangeShapeType="1"/>
          </p:cNvSpPr>
          <p:nvPr/>
        </p:nvSpPr>
        <p:spPr bwMode="gray">
          <a:xfrm>
            <a:off x="1649414" y="6394450"/>
            <a:ext cx="42624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111" name="Line 71">
            <a:extLst>
              <a:ext uri="{FF2B5EF4-FFF2-40B4-BE49-F238E27FC236}">
                <a16:creationId xmlns:a16="http://schemas.microsoft.com/office/drawing/2014/main" id="{C1578A35-A2F6-44E7-AC69-6FC258B7D6A2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1739" y="2479675"/>
            <a:ext cx="42497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112" name="Rectangle 72">
            <a:extLst>
              <a:ext uri="{FF2B5EF4-FFF2-40B4-BE49-F238E27FC236}">
                <a16:creationId xmlns:a16="http://schemas.microsoft.com/office/drawing/2014/main" id="{3DA75ABD-46AB-40EA-85E0-0127C4B2EFC8}"/>
              </a:ext>
            </a:extLst>
          </p:cNvPr>
          <p:cNvSpPr>
            <a:spLocks noChangeArrowheads="1"/>
          </p:cNvSpPr>
          <p:nvPr/>
        </p:nvSpPr>
        <p:spPr bwMode="gray">
          <a:xfrm>
            <a:off x="9734551" y="6224588"/>
            <a:ext cx="343043" cy="1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Termin</a:t>
            </a:r>
          </a:p>
        </p:txBody>
      </p:sp>
      <p:sp>
        <p:nvSpPr>
          <p:cNvPr id="4113" name="Rectangle 74">
            <a:extLst>
              <a:ext uri="{FF2B5EF4-FFF2-40B4-BE49-F238E27FC236}">
                <a16:creationId xmlns:a16="http://schemas.microsoft.com/office/drawing/2014/main" id="{C61A3225-45C1-4B36-85AB-7DD611A5B7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65425" y="1184276"/>
            <a:ext cx="1570038" cy="93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IT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Daniel Wenzl IT</a:t>
            </a:r>
            <a:br>
              <a:rPr lang="de-DE" altLang="de-DE" sz="800"/>
            </a:br>
            <a:r>
              <a:rPr lang="de-DE" altLang="de-DE" sz="800"/>
              <a:t>09110501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Urban Explorer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Sven Hornung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Sven Hornung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10.03.2019</a:t>
            </a:r>
          </a:p>
        </p:txBody>
      </p:sp>
      <p:sp>
        <p:nvSpPr>
          <p:cNvPr id="4114" name="Rectangle 82">
            <a:extLst>
              <a:ext uri="{FF2B5EF4-FFF2-40B4-BE49-F238E27FC236}">
                <a16:creationId xmlns:a16="http://schemas.microsoft.com/office/drawing/2014/main" id="{EC26D06C-662E-47F4-AC87-24279CB05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9414" y="1184275"/>
            <a:ext cx="1062037" cy="96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MBV/Fachbereich	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SVP/Business Line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Projekt-ID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Projektname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Fachseite-PL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IT - PL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Berichts-Datum</a:t>
            </a:r>
          </a:p>
        </p:txBody>
      </p:sp>
      <p:sp>
        <p:nvSpPr>
          <p:cNvPr id="4115" name="Rectangle 83">
            <a:extLst>
              <a:ext uri="{FF2B5EF4-FFF2-40B4-BE49-F238E27FC236}">
                <a16:creationId xmlns:a16="http://schemas.microsoft.com/office/drawing/2014/main" id="{F901A9FB-1069-4EF8-9751-3EAFD0C56C5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9413" y="1008064"/>
            <a:ext cx="1452562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Projekt-Stammdaten</a:t>
            </a:r>
          </a:p>
        </p:txBody>
      </p:sp>
      <p:sp>
        <p:nvSpPr>
          <p:cNvPr id="4116" name="Line 84">
            <a:extLst>
              <a:ext uri="{FF2B5EF4-FFF2-40B4-BE49-F238E27FC236}">
                <a16:creationId xmlns:a16="http://schemas.microsoft.com/office/drawing/2014/main" id="{FDD56621-5328-4820-87BB-9EADD83FB07F}"/>
              </a:ext>
            </a:extLst>
          </p:cNvPr>
          <p:cNvSpPr>
            <a:spLocks noChangeShapeType="1"/>
          </p:cNvSpPr>
          <p:nvPr/>
        </p:nvSpPr>
        <p:spPr bwMode="gray">
          <a:xfrm>
            <a:off x="1651001" y="1141413"/>
            <a:ext cx="268446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117" name="Rectangle 97">
            <a:extLst>
              <a:ext uri="{FF2B5EF4-FFF2-40B4-BE49-F238E27FC236}">
                <a16:creationId xmlns:a16="http://schemas.microsoft.com/office/drawing/2014/main" id="{6C720AC7-FC22-48B1-880A-432126D77E2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88389" y="6224589"/>
            <a:ext cx="9366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Tx/>
            </a:pPr>
            <a:r>
              <a:rPr lang="de-DE" altLang="de-DE" sz="800" b="1"/>
              <a:t>Entscheider</a:t>
            </a:r>
          </a:p>
        </p:txBody>
      </p:sp>
      <p:grpSp>
        <p:nvGrpSpPr>
          <p:cNvPr id="4118" name="Gruppieren 4">
            <a:extLst>
              <a:ext uri="{FF2B5EF4-FFF2-40B4-BE49-F238E27FC236}">
                <a16:creationId xmlns:a16="http://schemas.microsoft.com/office/drawing/2014/main" id="{32EE798A-99BE-4579-8D79-C4EBF7371A58}"/>
              </a:ext>
            </a:extLst>
          </p:cNvPr>
          <p:cNvGrpSpPr>
            <a:grpSpLocks/>
          </p:cNvGrpSpPr>
          <p:nvPr/>
        </p:nvGrpSpPr>
        <p:grpSpPr bwMode="auto">
          <a:xfrm>
            <a:off x="9696450" y="260349"/>
            <a:ext cx="736600" cy="131186"/>
            <a:chOff x="8172450" y="260648"/>
            <a:chExt cx="736600" cy="130886"/>
          </a:xfrm>
        </p:grpSpPr>
        <p:sp>
          <p:nvSpPr>
            <p:cNvPr id="4131" name="AutoShape 44">
              <a:extLst>
                <a:ext uri="{FF2B5EF4-FFF2-40B4-BE49-F238E27FC236}">
                  <a16:creationId xmlns:a16="http://schemas.microsoft.com/office/drawing/2014/main" id="{CE0B8FA4-D0B9-443F-9CB4-4C0FB8153E9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4493" y="280988"/>
              <a:ext cx="724557" cy="1105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334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9334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9334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9334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9334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  <a:spcBef>
                  <a:spcPct val="20000"/>
                </a:spcBef>
                <a:buClrTx/>
              </a:pPr>
              <a:r>
                <a:rPr lang="de-DE" altLang="de-DE" sz="800"/>
                <a:t>VERTRAULICH</a:t>
              </a:r>
            </a:p>
          </p:txBody>
        </p:sp>
        <p:cxnSp>
          <p:nvCxnSpPr>
            <p:cNvPr id="4132" name="AutoShape 46">
              <a:extLst>
                <a:ext uri="{FF2B5EF4-FFF2-40B4-BE49-F238E27FC236}">
                  <a16:creationId xmlns:a16="http://schemas.microsoft.com/office/drawing/2014/main" id="{4529081B-6382-4267-8689-1941789A481C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8172450" y="390525"/>
              <a:ext cx="73660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33" name="AutoShape 45">
              <a:extLst>
                <a:ext uri="{FF2B5EF4-FFF2-40B4-BE49-F238E27FC236}">
                  <a16:creationId xmlns:a16="http://schemas.microsoft.com/office/drawing/2014/main" id="{32068027-BDE9-4BB5-815C-17A7DC5F8C7C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8172450" y="260648"/>
              <a:ext cx="73660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119" name="Rectangle 3">
            <a:extLst>
              <a:ext uri="{FF2B5EF4-FFF2-40B4-BE49-F238E27FC236}">
                <a16:creationId xmlns:a16="http://schemas.microsoft.com/office/drawing/2014/main" id="{97152A4F-266D-43AD-8E95-41BC35D413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7025" y="4449763"/>
            <a:ext cx="17589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</p:txBody>
      </p:sp>
      <p:sp>
        <p:nvSpPr>
          <p:cNvPr id="4120" name="Rectangle 3">
            <a:extLst>
              <a:ext uri="{FF2B5EF4-FFF2-40B4-BE49-F238E27FC236}">
                <a16:creationId xmlns:a16="http://schemas.microsoft.com/office/drawing/2014/main" id="{E5116101-C3F2-496C-8E9C-2A1BA9E2E4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14875" y="2503489"/>
            <a:ext cx="11811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</p:txBody>
      </p:sp>
      <p:sp>
        <p:nvSpPr>
          <p:cNvPr id="4121" name="Textfeld 2">
            <a:extLst>
              <a:ext uri="{FF2B5EF4-FFF2-40B4-BE49-F238E27FC236}">
                <a16:creationId xmlns:a16="http://schemas.microsoft.com/office/drawing/2014/main" id="{FC8F54E9-C5FA-41E3-AF3F-1B4A11B547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0526" y="2535239"/>
            <a:ext cx="3362325" cy="190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25000"/>
              </a:spcBef>
              <a:buClr>
                <a:schemeClr val="tx1"/>
              </a:buClr>
              <a:buSzPct val="120000"/>
            </a:pPr>
            <a:r>
              <a:rPr lang="de-DE" altLang="de-DE" sz="800">
                <a:ea typeface="MS PGothic" panose="020B0600070205080204" pitchFamily="34" charset="-128"/>
              </a:rPr>
              <a:t>Aktivitäten über Großstädte sammeln</a:t>
            </a:r>
            <a:br>
              <a:rPr lang="de-DE" altLang="de-DE" sz="800">
                <a:ea typeface="MS PGothic" panose="020B0600070205080204" pitchFamily="34" charset="-128"/>
              </a:rPr>
            </a:br>
            <a:r>
              <a:rPr lang="de-DE" altLang="de-DE" sz="800">
                <a:ea typeface="MS PGothic" panose="020B0600070205080204" pitchFamily="34" charset="-128"/>
              </a:rPr>
              <a:t>Weboberfläche mit Balsamiq</a:t>
            </a:r>
            <a:br>
              <a:rPr lang="de-DE" altLang="de-DE" sz="800">
                <a:ea typeface="MS PGothic" panose="020B0600070205080204" pitchFamily="34" charset="-128"/>
              </a:rPr>
            </a:br>
            <a:r>
              <a:rPr lang="de-DE" altLang="de-DE" sz="800">
                <a:ea typeface="MS PGothic" panose="020B0600070205080204" pitchFamily="34" charset="-128"/>
              </a:rPr>
              <a:t>Logo erstellt</a:t>
            </a:r>
            <a:br>
              <a:rPr lang="de-DE" altLang="de-DE" sz="800">
                <a:ea typeface="MS PGothic" panose="020B0600070205080204" pitchFamily="34" charset="-128"/>
              </a:rPr>
            </a:br>
            <a:r>
              <a:rPr lang="de-DE" altLang="de-DE" sz="800">
                <a:ea typeface="MS PGothic" panose="020B0600070205080204" pitchFamily="34" charset="-128"/>
              </a:rPr>
              <a:t>Zufällig generierte Zitate auf der Website</a:t>
            </a:r>
            <a:br>
              <a:rPr lang="de-DE" altLang="de-DE" sz="800">
                <a:ea typeface="MS PGothic" panose="020B0600070205080204" pitchFamily="34" charset="-128"/>
              </a:rPr>
            </a:br>
            <a:r>
              <a:rPr lang="de-DE" altLang="de-DE" sz="800">
                <a:ea typeface="MS PGothic" panose="020B0600070205080204" pitchFamily="34" charset="-128"/>
              </a:rPr>
              <a:t>Lastenheft</a:t>
            </a:r>
            <a:br>
              <a:rPr lang="de-DE" altLang="de-DE" sz="800">
                <a:ea typeface="MS PGothic" panose="020B0600070205080204" pitchFamily="34" charset="-128"/>
              </a:rPr>
            </a:br>
            <a:r>
              <a:rPr lang="de-DE" altLang="de-DE" sz="800">
                <a:ea typeface="MS PGothic" panose="020B0600070205080204" pitchFamily="34" charset="-128"/>
              </a:rPr>
              <a:t>Suchfunktion</a:t>
            </a:r>
            <a:br>
              <a:rPr lang="de-DE" altLang="de-DE" sz="800">
                <a:ea typeface="MS PGothic" panose="020B0600070205080204" pitchFamily="34" charset="-128"/>
              </a:rPr>
            </a:br>
            <a:r>
              <a:rPr lang="de-DE" altLang="de-DE" sz="800">
                <a:ea typeface="MS PGothic" panose="020B0600070205080204" pitchFamily="34" charset="-128"/>
              </a:rPr>
              <a:t>Dreamday</a:t>
            </a:r>
            <a:br>
              <a:rPr lang="de-DE" altLang="de-DE" sz="800">
                <a:ea typeface="MS PGothic" panose="020B0600070205080204" pitchFamily="34" charset="-128"/>
              </a:rPr>
            </a:br>
            <a:r>
              <a:rPr lang="de-DE" altLang="de-DE" sz="800">
                <a:ea typeface="MS PGothic" panose="020B0600070205080204" pitchFamily="34" charset="-128"/>
              </a:rPr>
              <a:t>Eintrag hinzufügen</a:t>
            </a:r>
            <a:br>
              <a:rPr lang="de-DE" altLang="de-DE" sz="800">
                <a:ea typeface="MS PGothic" panose="020B0600070205080204" pitchFamily="34" charset="-128"/>
              </a:rPr>
            </a:br>
            <a:r>
              <a:rPr lang="de-DE" altLang="de-DE" sz="800">
                <a:ea typeface="MS PGothic" panose="020B0600070205080204" pitchFamily="34" charset="-128"/>
              </a:rPr>
              <a:t>Coverflow</a:t>
            </a:r>
            <a:br>
              <a:rPr lang="de-DE" altLang="de-DE" sz="800">
                <a:ea typeface="MS PGothic" panose="020B0600070205080204" pitchFamily="34" charset="-128"/>
              </a:rPr>
            </a:br>
            <a:br>
              <a:rPr lang="de-DE" altLang="de-DE" sz="800">
                <a:ea typeface="MS PGothic" panose="020B0600070205080204" pitchFamily="34" charset="-128"/>
              </a:rPr>
            </a:br>
            <a:endParaRPr lang="de-DE" altLang="de-DE" sz="800">
              <a:ea typeface="MS PGothic" panose="020B0600070205080204" pitchFamily="34" charset="-128"/>
            </a:endParaRP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</p:txBody>
      </p:sp>
      <p:sp>
        <p:nvSpPr>
          <p:cNvPr id="4122" name="Textfeld 2">
            <a:extLst>
              <a:ext uri="{FF2B5EF4-FFF2-40B4-BE49-F238E27FC236}">
                <a16:creationId xmlns:a16="http://schemas.microsoft.com/office/drawing/2014/main" id="{36D79AA5-E0CC-462C-AAFD-67AAE9D43C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8625" y="6370639"/>
            <a:ext cx="41290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</a:pPr>
            <a:r>
              <a:rPr lang="de-DE" altLang="de-DE" sz="800">
                <a:ea typeface="MS PGothic" panose="020B0600070205080204" pitchFamily="34" charset="-128"/>
              </a:rPr>
              <a:t>Eigene Tagesplanung</a:t>
            </a: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</a:pPr>
            <a:r>
              <a:rPr lang="de-DE" altLang="de-DE" sz="800">
                <a:ea typeface="MS PGothic" panose="020B0600070205080204" pitchFamily="34" charset="-128"/>
              </a:rPr>
              <a:t>Personenbedingte Engpässe</a:t>
            </a: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</a:pPr>
            <a:endParaRPr lang="de-DE" altLang="de-DE" sz="800">
              <a:ea typeface="MS PGothic" panose="020B0600070205080204" pitchFamily="34" charset="-128"/>
            </a:endParaRPr>
          </a:p>
        </p:txBody>
      </p:sp>
      <p:sp>
        <p:nvSpPr>
          <p:cNvPr id="3099" name="Textfeld 2">
            <a:extLst>
              <a:ext uri="{FF2B5EF4-FFF2-40B4-BE49-F238E27FC236}">
                <a16:creationId xmlns:a16="http://schemas.microsoft.com/office/drawing/2014/main" id="{842CA83D-E85E-44DB-BEB1-122FFC2BA0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9039" y="2522539"/>
            <a:ext cx="42624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  <a:defRPr/>
            </a:pPr>
            <a:r>
              <a:rPr lang="de-DE" altLang="de-DE" sz="800" dirty="0">
                <a:ea typeface="MS PGothic" pitchFamily="34" charset="-128"/>
              </a:rPr>
              <a:t>- entfällt</a:t>
            </a: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  <a:defRPr/>
            </a:pPr>
            <a:endParaRPr lang="de-DE" altLang="de-DE" sz="800" dirty="0">
              <a:ea typeface="MS PGothic" pitchFamily="34" charset="-128"/>
            </a:endParaRPr>
          </a:p>
          <a:p>
            <a:pPr marL="0" indent="0">
              <a:spcBef>
                <a:spcPct val="25000"/>
              </a:spcBef>
              <a:buClr>
                <a:schemeClr val="tx1"/>
              </a:buClr>
              <a:buSzPct val="120000"/>
              <a:defRPr/>
            </a:pPr>
            <a:endParaRPr lang="de-DE" altLang="de-DE" sz="800" dirty="0">
              <a:ea typeface="MS PGothic" pitchFamily="34" charset="-128"/>
            </a:endParaRPr>
          </a:p>
        </p:txBody>
      </p:sp>
      <p:sp>
        <p:nvSpPr>
          <p:cNvPr id="4124" name="Rectangle 48">
            <a:extLst>
              <a:ext uri="{FF2B5EF4-FFF2-40B4-BE49-F238E27FC236}">
                <a16:creationId xmlns:a16="http://schemas.microsoft.com/office/drawing/2014/main" id="{108BFE9A-5C2D-40B5-96AB-24A1F221C5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1738" y="4284664"/>
            <a:ext cx="925512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Defekte (High Prio)</a:t>
            </a:r>
          </a:p>
        </p:txBody>
      </p:sp>
      <p:sp>
        <p:nvSpPr>
          <p:cNvPr id="4125" name="Line 71">
            <a:extLst>
              <a:ext uri="{FF2B5EF4-FFF2-40B4-BE49-F238E27FC236}">
                <a16:creationId xmlns:a16="http://schemas.microsoft.com/office/drawing/2014/main" id="{C4FAB584-D6D0-491A-8E06-0471F9B468EF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1739" y="4433888"/>
            <a:ext cx="42497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127" name="Textfeld 2">
            <a:extLst>
              <a:ext uri="{FF2B5EF4-FFF2-40B4-BE49-F238E27FC236}">
                <a16:creationId xmlns:a16="http://schemas.microsoft.com/office/drawing/2014/main" id="{B5157774-8CDB-4AEE-8DEA-3A74646583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1739" y="6461125"/>
            <a:ext cx="23447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</a:pPr>
            <a:r>
              <a:rPr lang="de-DE" altLang="de-DE" sz="800">
                <a:ea typeface="MS PGothic" panose="020B0600070205080204" pitchFamily="34" charset="-128"/>
              </a:rPr>
              <a:t>-</a:t>
            </a:r>
          </a:p>
        </p:txBody>
      </p:sp>
      <p:sp>
        <p:nvSpPr>
          <p:cNvPr id="36" name="Textfeld 2">
            <a:extLst>
              <a:ext uri="{FF2B5EF4-FFF2-40B4-BE49-F238E27FC236}">
                <a16:creationId xmlns:a16="http://schemas.microsoft.com/office/drawing/2014/main" id="{8ABB1EA4-538D-47D9-99CF-7A1504E85B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27201" y="4441826"/>
            <a:ext cx="3362325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de-DE"/>
            </a:defPPr>
            <a:lvl1pPr marL="171450" indent="-171450" defTabSz="933450"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  <a:tabLst>
                <a:tab pos="727075" algn="l"/>
                <a:tab pos="1463675" algn="l"/>
                <a:tab pos="2189163" algn="l"/>
                <a:tab pos="2930525" algn="l"/>
              </a:tabLst>
              <a:defRPr sz="800">
                <a:ea typeface="MS PGothic" pitchFamily="34" charset="-128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2pPr>
            <a:lvl3pPr marL="1143000" indent="-228600" defTabSz="933450">
              <a:buClr>
                <a:schemeClr val="tx2"/>
              </a:buClr>
              <a:buSzPct val="120000"/>
              <a:buFont typeface="Arial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3pPr>
            <a:lvl4pPr marL="1600200" indent="-228600" defTabSz="933450">
              <a:buClr>
                <a:schemeClr val="tx2"/>
              </a:buClr>
              <a:buSzPct val="120000"/>
              <a:buFont typeface="Arial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4pPr>
            <a:lvl5pPr marL="2057400" indent="-228600" defTabSz="933450"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9pPr>
          </a:lstStyle>
          <a:p>
            <a:pPr marL="0" indent="0">
              <a:buNone/>
              <a:defRPr/>
            </a:pPr>
            <a:r>
              <a:rPr lang="de-DE" altLang="de-DE" dirty="0">
                <a:latin typeface="Arial" charset="0"/>
                <a:cs typeface="Arial" charset="0"/>
              </a:rPr>
              <a:t>Informationen in die Datenbank einpflegen</a:t>
            </a:r>
            <a:br>
              <a:rPr lang="de-DE" altLang="de-DE" dirty="0">
                <a:latin typeface="Arial" charset="0"/>
                <a:cs typeface="Arial" charset="0"/>
              </a:rPr>
            </a:br>
            <a:r>
              <a:rPr lang="de-DE" altLang="de-DE" dirty="0">
                <a:latin typeface="Arial" charset="0"/>
                <a:cs typeface="Arial" charset="0"/>
              </a:rPr>
              <a:t>Website fertig stellen</a:t>
            </a:r>
            <a:br>
              <a:rPr lang="de-DE" altLang="de-DE" dirty="0">
                <a:latin typeface="Arial" charset="0"/>
                <a:cs typeface="Arial" charset="0"/>
              </a:rPr>
            </a:br>
            <a:r>
              <a:rPr lang="de-DE" altLang="de-DE" dirty="0">
                <a:latin typeface="Arial" charset="0"/>
                <a:cs typeface="Arial" charset="0"/>
              </a:rPr>
              <a:t>Tagesplanung mit </a:t>
            </a:r>
            <a:r>
              <a:rPr lang="de-DE" altLang="de-DE" dirty="0" err="1">
                <a:latin typeface="Arial" charset="0"/>
                <a:cs typeface="Arial" charset="0"/>
              </a:rPr>
              <a:t>Firebase</a:t>
            </a:r>
            <a:r>
              <a:rPr lang="de-DE" altLang="de-DE" dirty="0">
                <a:latin typeface="Arial" charset="0"/>
                <a:cs typeface="Arial" charset="0"/>
              </a:rPr>
              <a:t> verknüpfen</a:t>
            </a:r>
          </a:p>
          <a:p>
            <a:pPr marL="0" indent="0">
              <a:buNone/>
              <a:defRPr/>
            </a:pPr>
            <a:r>
              <a:rPr lang="de-DE" altLang="de-DE" dirty="0">
                <a:latin typeface="Arial" charset="0"/>
                <a:cs typeface="Arial" charset="0"/>
              </a:rPr>
              <a:t> </a:t>
            </a: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 marL="0" indent="0">
              <a:buNone/>
              <a:defRPr/>
            </a:pPr>
            <a:r>
              <a:rPr lang="de-DE" altLang="de-DE" dirty="0">
                <a:latin typeface="Arial" charset="0"/>
                <a:cs typeface="Arial" charset="0"/>
              </a:rPr>
              <a:t> </a:t>
            </a: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</p:txBody>
      </p:sp>
      <p:sp>
        <p:nvSpPr>
          <p:cNvPr id="4129" name="Textfeld 2">
            <a:extLst>
              <a:ext uri="{FF2B5EF4-FFF2-40B4-BE49-F238E27FC236}">
                <a16:creationId xmlns:a16="http://schemas.microsoft.com/office/drawing/2014/main" id="{6239E065-2346-4949-92EA-6891BFF51A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525" y="2543176"/>
            <a:ext cx="738188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de-DE" altLang="de-DE" sz="800"/>
              <a:t>18.02.2019</a:t>
            </a:r>
          </a:p>
          <a:p>
            <a:pPr algn="r"/>
            <a:r>
              <a:rPr lang="de-DE" altLang="de-DE" sz="800"/>
              <a:t>17.02.2019</a:t>
            </a:r>
          </a:p>
          <a:p>
            <a:pPr algn="r"/>
            <a:r>
              <a:rPr lang="de-DE" altLang="de-DE" sz="800"/>
              <a:t>15.02.2019</a:t>
            </a:r>
          </a:p>
          <a:p>
            <a:pPr algn="r"/>
            <a:r>
              <a:rPr lang="de-DE" altLang="de-DE" sz="800"/>
              <a:t>23.02.2019</a:t>
            </a:r>
          </a:p>
          <a:p>
            <a:pPr algn="r"/>
            <a:r>
              <a:rPr lang="de-DE" altLang="de-DE" sz="800"/>
              <a:t>25.02.2019</a:t>
            </a:r>
            <a:br>
              <a:rPr lang="de-DE" altLang="de-DE" sz="800"/>
            </a:br>
            <a:r>
              <a:rPr lang="de-DE" altLang="de-DE" sz="800"/>
              <a:t>25.02.2019</a:t>
            </a:r>
            <a:br>
              <a:rPr lang="de-DE" altLang="de-DE" sz="800"/>
            </a:br>
            <a:r>
              <a:rPr lang="de-DE" altLang="de-DE" sz="800"/>
              <a:t>10.03.2019</a:t>
            </a:r>
          </a:p>
          <a:p>
            <a:pPr algn="r"/>
            <a:r>
              <a:rPr lang="de-DE" altLang="de-DE" sz="800"/>
              <a:t>10.03.2019</a:t>
            </a:r>
          </a:p>
          <a:p>
            <a:pPr algn="r"/>
            <a:r>
              <a:rPr lang="de-DE" altLang="de-DE" sz="800"/>
              <a:t>17.03.2019</a:t>
            </a:r>
          </a:p>
          <a:p>
            <a:pPr algn="r"/>
            <a:endParaRPr lang="de-DE" altLang="de-DE" sz="800"/>
          </a:p>
          <a:p>
            <a:pPr algn="r"/>
            <a:endParaRPr lang="de-DE" altLang="de-DE" sz="800"/>
          </a:p>
        </p:txBody>
      </p:sp>
      <p:sp>
        <p:nvSpPr>
          <p:cNvPr id="4130" name="Textfeld 2">
            <a:extLst>
              <a:ext uri="{FF2B5EF4-FFF2-40B4-BE49-F238E27FC236}">
                <a16:creationId xmlns:a16="http://schemas.microsoft.com/office/drawing/2014/main" id="{B1041FF2-DAE1-4D8A-AC3E-D25552E7F5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81601" y="4364039"/>
            <a:ext cx="714375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endParaRPr lang="de-DE" altLang="de-DE" sz="800"/>
          </a:p>
          <a:p>
            <a:pPr algn="r"/>
            <a:r>
              <a:rPr lang="de-DE" altLang="de-DE" sz="800"/>
              <a:t>30.03.2019</a:t>
            </a:r>
          </a:p>
          <a:p>
            <a:pPr algn="r"/>
            <a:r>
              <a:rPr lang="de-DE" altLang="de-DE" sz="800"/>
              <a:t>20.03.2019</a:t>
            </a:r>
            <a:br>
              <a:rPr lang="de-DE" altLang="de-DE" sz="800"/>
            </a:br>
            <a:r>
              <a:rPr lang="de-DE" altLang="de-DE" sz="800"/>
              <a:t>20.03.2019</a:t>
            </a:r>
          </a:p>
          <a:p>
            <a:pPr algn="r"/>
            <a:endParaRPr lang="de-DE" altLang="de-DE" sz="800"/>
          </a:p>
          <a:p>
            <a:pPr algn="r"/>
            <a:endParaRPr lang="de-DE" altLang="de-DE" sz="800"/>
          </a:p>
          <a:p>
            <a:pPr algn="r"/>
            <a:endParaRPr lang="de-DE" altLang="de-DE" sz="8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114C46-E97F-4810-A155-E909BC603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de-DE" dirty="0"/>
              <a:t>3. Neue Funktionen</a:t>
            </a:r>
            <a:endParaRPr lang="en-US" dirty="0"/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566500F1-228F-4B3A-AB73-67DC3EB1197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4096483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3679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3</Words>
  <Application>Microsoft Office PowerPoint</Application>
  <PresentationFormat>Breitbild</PresentationFormat>
  <Paragraphs>73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</vt:lpstr>
      <vt:lpstr>think-cell Folie</vt:lpstr>
      <vt:lpstr>PowerPoint-Präsentation</vt:lpstr>
      <vt:lpstr>Wenn Sie an eine Städtereise denken, denken Sie an Urban Explorer</vt:lpstr>
      <vt:lpstr>Agenda </vt:lpstr>
      <vt:lpstr>1. Projektfortschritt</vt:lpstr>
      <vt:lpstr>2 . Statusbericht</vt:lpstr>
      <vt:lpstr>3. Neue Funktion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efan Roth</dc:creator>
  <cp:lastModifiedBy>Sven Hornung</cp:lastModifiedBy>
  <cp:revision>12</cp:revision>
  <dcterms:created xsi:type="dcterms:W3CDTF">2019-03-17T18:20:58Z</dcterms:created>
  <dcterms:modified xsi:type="dcterms:W3CDTF">2019-03-18T12:11:39Z</dcterms:modified>
</cp:coreProperties>
</file>